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4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heme/theme5.xml" ContentType="application/vnd.openxmlformats-officedocument.theme+xml"/>
  <Override PartName="/ppt/tags/tag28.xml" ContentType="application/vnd.openxmlformats-officedocument.presentationml.tags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2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3" r:id="rId3"/>
    <p:sldMasterId id="2147483669" r:id="rId4"/>
    <p:sldMasterId id="2147483672" r:id="rId5"/>
  </p:sldMasterIdLst>
  <p:notesMasterIdLst>
    <p:notesMasterId r:id="rId12"/>
  </p:notesMasterIdLst>
  <p:sldIdLst>
    <p:sldId id="399" r:id="rId6"/>
    <p:sldId id="484" r:id="rId7"/>
    <p:sldId id="482" r:id="rId8"/>
    <p:sldId id="483" r:id="rId9"/>
    <p:sldId id="481" r:id="rId10"/>
    <p:sldId id="486" r:id="rId11"/>
  </p:sldIdLst>
  <p:sldSz cx="9144000" cy="6858000" type="screen4x3"/>
  <p:notesSz cx="6797675" cy="9872663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B44A"/>
    <a:srgbClr val="FFFF99"/>
    <a:srgbClr val="FF9B9B"/>
    <a:srgbClr val="DCE6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951" autoAdjust="0"/>
    <p:restoredTop sz="68206" autoAdjust="0"/>
  </p:normalViewPr>
  <p:slideViewPr>
    <p:cSldViewPr showGuides="1">
      <p:cViewPr>
        <p:scale>
          <a:sx n="66" d="100"/>
          <a:sy n="66" d="100"/>
        </p:scale>
        <p:origin x="-780" y="-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ACE114-B891-4C82-AAA3-76896C4648B8}" type="datetimeFigureOut">
              <a:rPr lang="en-GB" smtClean="0"/>
              <a:t>23/10/201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55DA65D-8003-4033-9E40-9BA1D131BA44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7795523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97D1EC2-AE12-4A30-AF89-E468333E1119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62761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5DA65D-8003-4033-9E40-9BA1D131BA44}" type="slidenum">
              <a:rPr lang="en-GB" smtClean="0"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492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“We are committed to working collaboratively to improve the patient experience of integrated care, admission to and transition from hospital. We intend to co-produce an integrated approach to the care of the population aged over 75 in the participating GP practices. We intend to co-design with patients, carers and service providers a personalised model of self-care which puts the patient/carers at the centre of a coordinated communication and service delivery process in relation to the management of their long term condition(s). ”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55DA65D-8003-4033-9E40-9BA1D131BA4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393584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jpeg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27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EC3D76-A2E1-4A2F-822D-62525663EAA9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682076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4A1F1-8E81-4A5A-A345-9A29F3A5F88E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21134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FCCFC-8CD0-4D3C-9E0F-E9990780D5B3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95219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81508" y="106484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81508" y="265219"/>
            <a:ext cx="28982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0/20/2014 5:14 PM GMT Standard Time</a:t>
            </a:r>
            <a:endParaRPr lang="en-GB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800" dirty="0" smtClean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800" dirty="0" smtClean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237000" y="6433627"/>
            <a:ext cx="6905379" cy="429233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38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5978169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GB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42746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738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2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486" name="Picture 78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18361" y="365296"/>
            <a:ext cx="6530975" cy="1660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19" name="Group 18"/>
          <p:cNvGrpSpPr/>
          <p:nvPr userDrawn="1"/>
        </p:nvGrpSpPr>
        <p:grpSpPr>
          <a:xfrm>
            <a:off x="-282612" y="-18278"/>
            <a:ext cx="9426612" cy="7015978"/>
            <a:chOff x="-282612" y="-18278"/>
            <a:chExt cx="9426612" cy="7015978"/>
          </a:xfrm>
          <a:solidFill>
            <a:srgbClr val="280039"/>
          </a:solidFill>
        </p:grpSpPr>
        <p:sp>
          <p:nvSpPr>
            <p:cNvPr id="20" name="Freeform 19"/>
            <p:cNvSpPr>
              <a:spLocks/>
            </p:cNvSpPr>
            <p:nvPr/>
          </p:nvSpPr>
          <p:spPr bwMode="auto">
            <a:xfrm rot="5888568" flipV="1">
              <a:off x="-3029341" y="2728451"/>
              <a:ext cx="6508338" cy="1014880"/>
            </a:xfrm>
            <a:custGeom>
              <a:avLst/>
              <a:gdLst/>
              <a:ahLst/>
              <a:cxnLst>
                <a:cxn ang="0">
                  <a:pos x="0" y="2527"/>
                </a:cxn>
                <a:cxn ang="0">
                  <a:pos x="6913" y="3360"/>
                </a:cxn>
                <a:cxn ang="0">
                  <a:pos x="0" y="2144"/>
                </a:cxn>
                <a:cxn ang="0">
                  <a:pos x="0" y="2527"/>
                </a:cxn>
              </a:cxnLst>
              <a:rect l="0" t="0" r="r" b="b"/>
              <a:pathLst>
                <a:path w="6913" h="3360">
                  <a:moveTo>
                    <a:pt x="0" y="2527"/>
                  </a:moveTo>
                  <a:cubicBezTo>
                    <a:pt x="5458" y="360"/>
                    <a:pt x="6913" y="3360"/>
                    <a:pt x="6913" y="3360"/>
                  </a:cubicBezTo>
                  <a:cubicBezTo>
                    <a:pt x="6913" y="3360"/>
                    <a:pt x="5593" y="0"/>
                    <a:pt x="0" y="2144"/>
                  </a:cubicBezTo>
                  <a:cubicBezTo>
                    <a:pt x="0" y="2144"/>
                    <a:pt x="0" y="2197"/>
                    <a:pt x="0" y="2527"/>
                  </a:cubicBezTo>
                  <a:close/>
                </a:path>
              </a:pathLst>
            </a:custGeom>
            <a:grpFill/>
            <a:ln w="9525">
              <a:solidFill>
                <a:srgbClr val="280039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1" name="Rectangle 3"/>
            <p:cNvSpPr>
              <a:spLocks noChangeArrowheads="1"/>
            </p:cNvSpPr>
            <p:nvPr/>
          </p:nvSpPr>
          <p:spPr bwMode="auto">
            <a:xfrm>
              <a:off x="-10274" y="5930900"/>
              <a:ext cx="9154274" cy="1066800"/>
            </a:xfrm>
            <a:custGeom>
              <a:avLst/>
              <a:gdLst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9144000 w 9144000"/>
                <a:gd name="connsiteY2" fmla="*/ 3581400 h 3581400"/>
                <a:gd name="connsiteX3" fmla="*/ 0 w 9144000"/>
                <a:gd name="connsiteY3" fmla="*/ 3581400 h 3581400"/>
                <a:gd name="connsiteX4" fmla="*/ 0 w 9144000"/>
                <a:gd name="connsiteY4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4800600 w 9144000"/>
                <a:gd name="connsiteY2" fmla="*/ 1828800 h 3581400"/>
                <a:gd name="connsiteX3" fmla="*/ 0 w 9144000"/>
                <a:gd name="connsiteY3" fmla="*/ 3581400 h 3581400"/>
                <a:gd name="connsiteX4" fmla="*/ 0 w 9144000"/>
                <a:gd name="connsiteY4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4800600 w 9144000"/>
                <a:gd name="connsiteY2" fmla="*/ 1828800 h 3581400"/>
                <a:gd name="connsiteX3" fmla="*/ 0 w 9144000"/>
                <a:gd name="connsiteY3" fmla="*/ 3581400 h 3581400"/>
                <a:gd name="connsiteX4" fmla="*/ 0 w 9144000"/>
                <a:gd name="connsiteY4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4800600 w 9144000"/>
                <a:gd name="connsiteY2" fmla="*/ 1828800 h 3581400"/>
                <a:gd name="connsiteX3" fmla="*/ 0 w 9144000"/>
                <a:gd name="connsiteY3" fmla="*/ 3581400 h 3581400"/>
                <a:gd name="connsiteX4" fmla="*/ 0 w 9144000"/>
                <a:gd name="connsiteY4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2971800 w 9144000"/>
                <a:gd name="connsiteY2" fmla="*/ 914400 h 3581400"/>
                <a:gd name="connsiteX3" fmla="*/ 0 w 9144000"/>
                <a:gd name="connsiteY3" fmla="*/ 3581400 h 3581400"/>
                <a:gd name="connsiteX4" fmla="*/ 0 w 9144000"/>
                <a:gd name="connsiteY4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2971800 w 9144000"/>
                <a:gd name="connsiteY2" fmla="*/ 914400 h 3581400"/>
                <a:gd name="connsiteX3" fmla="*/ 0 w 9144000"/>
                <a:gd name="connsiteY3" fmla="*/ 3581400 h 3581400"/>
                <a:gd name="connsiteX4" fmla="*/ 0 w 9144000"/>
                <a:gd name="connsiteY4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2971800 w 9144000"/>
                <a:gd name="connsiteY2" fmla="*/ 914400 h 3581400"/>
                <a:gd name="connsiteX3" fmla="*/ 0 w 9144000"/>
                <a:gd name="connsiteY3" fmla="*/ 3581400 h 3581400"/>
                <a:gd name="connsiteX4" fmla="*/ 0 w 9144000"/>
                <a:gd name="connsiteY4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2971800 w 9144000"/>
                <a:gd name="connsiteY2" fmla="*/ 914400 h 3581400"/>
                <a:gd name="connsiteX3" fmla="*/ 0 w 9144000"/>
                <a:gd name="connsiteY3" fmla="*/ 3581400 h 3581400"/>
                <a:gd name="connsiteX4" fmla="*/ 0 w 9144000"/>
                <a:gd name="connsiteY4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0 w 9144000"/>
                <a:gd name="connsiteY2" fmla="*/ 3581400 h 3581400"/>
                <a:gd name="connsiteX3" fmla="*/ 0 w 9144000"/>
                <a:gd name="connsiteY3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0 w 9144000"/>
                <a:gd name="connsiteY2" fmla="*/ 3581400 h 3581400"/>
                <a:gd name="connsiteX3" fmla="*/ 0 w 9144000"/>
                <a:gd name="connsiteY3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0 w 9144000"/>
                <a:gd name="connsiteY2" fmla="*/ 3581400 h 3581400"/>
                <a:gd name="connsiteX3" fmla="*/ 0 w 9144000"/>
                <a:gd name="connsiteY3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0 w 9144000"/>
                <a:gd name="connsiteY2" fmla="*/ 3581400 h 3581400"/>
                <a:gd name="connsiteX3" fmla="*/ 0 w 9144000"/>
                <a:gd name="connsiteY3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0 w 9144000"/>
                <a:gd name="connsiteY2" fmla="*/ 3581400 h 3581400"/>
                <a:gd name="connsiteX3" fmla="*/ 0 w 9144000"/>
                <a:gd name="connsiteY3" fmla="*/ 0 h 3581400"/>
                <a:gd name="connsiteX0" fmla="*/ 0 w 9144000"/>
                <a:gd name="connsiteY0" fmla="*/ 0 h 3581400"/>
                <a:gd name="connsiteX1" fmla="*/ 9144000 w 9144000"/>
                <a:gd name="connsiteY1" fmla="*/ 0 h 3581400"/>
                <a:gd name="connsiteX2" fmla="*/ 0 w 9144000"/>
                <a:gd name="connsiteY2" fmla="*/ 3581400 h 3581400"/>
                <a:gd name="connsiteX3" fmla="*/ 0 w 9144000"/>
                <a:gd name="connsiteY3" fmla="*/ 0 h 3581400"/>
                <a:gd name="connsiteX0" fmla="*/ 0 w 9144000"/>
                <a:gd name="connsiteY0" fmla="*/ 0 h 1905000"/>
                <a:gd name="connsiteX1" fmla="*/ 9144000 w 9144000"/>
                <a:gd name="connsiteY1" fmla="*/ 0 h 1905000"/>
                <a:gd name="connsiteX2" fmla="*/ 0 w 9144000"/>
                <a:gd name="connsiteY2" fmla="*/ 1905000 h 1905000"/>
                <a:gd name="connsiteX3" fmla="*/ 0 w 9144000"/>
                <a:gd name="connsiteY3" fmla="*/ 0 h 1905000"/>
                <a:gd name="connsiteX0" fmla="*/ 0 w 9144000"/>
                <a:gd name="connsiteY0" fmla="*/ 0 h 1905000"/>
                <a:gd name="connsiteX1" fmla="*/ 9144000 w 9144000"/>
                <a:gd name="connsiteY1" fmla="*/ 0 h 1905000"/>
                <a:gd name="connsiteX2" fmla="*/ 0 w 9144000"/>
                <a:gd name="connsiteY2" fmla="*/ 1905000 h 1905000"/>
                <a:gd name="connsiteX3" fmla="*/ 0 w 9144000"/>
                <a:gd name="connsiteY3" fmla="*/ 0 h 1905000"/>
                <a:gd name="connsiteX0" fmla="*/ 0 w 9144000"/>
                <a:gd name="connsiteY0" fmla="*/ 0 h 2349500"/>
                <a:gd name="connsiteX1" fmla="*/ 9144000 w 9144000"/>
                <a:gd name="connsiteY1" fmla="*/ 0 h 2349500"/>
                <a:gd name="connsiteX2" fmla="*/ 0 w 9144000"/>
                <a:gd name="connsiteY2" fmla="*/ 1905000 h 2349500"/>
                <a:gd name="connsiteX3" fmla="*/ 0 w 9144000"/>
                <a:gd name="connsiteY3" fmla="*/ 0 h 2349500"/>
                <a:gd name="connsiteX0" fmla="*/ 0 w 9144000"/>
                <a:gd name="connsiteY0" fmla="*/ 0 h 2349500"/>
                <a:gd name="connsiteX1" fmla="*/ 9144000 w 9144000"/>
                <a:gd name="connsiteY1" fmla="*/ 0 h 2349500"/>
                <a:gd name="connsiteX2" fmla="*/ 0 w 9144000"/>
                <a:gd name="connsiteY2" fmla="*/ 1905000 h 2349500"/>
                <a:gd name="connsiteX3" fmla="*/ 0 w 9144000"/>
                <a:gd name="connsiteY3" fmla="*/ 0 h 2349500"/>
                <a:gd name="connsiteX0" fmla="*/ 0 w 9144000"/>
                <a:gd name="connsiteY0" fmla="*/ 1 h 2349501"/>
                <a:gd name="connsiteX1" fmla="*/ 9144000 w 9144000"/>
                <a:gd name="connsiteY1" fmla="*/ 1 h 2349501"/>
                <a:gd name="connsiteX2" fmla="*/ 0 w 9144000"/>
                <a:gd name="connsiteY2" fmla="*/ 1905001 h 2349501"/>
                <a:gd name="connsiteX3" fmla="*/ 0 w 9144000"/>
                <a:gd name="connsiteY3" fmla="*/ 1 h 2349501"/>
                <a:gd name="connsiteX0" fmla="*/ 0 w 9144000"/>
                <a:gd name="connsiteY0" fmla="*/ 671286 h 3020786"/>
                <a:gd name="connsiteX1" fmla="*/ 9144000 w 9144000"/>
                <a:gd name="connsiteY1" fmla="*/ 671286 h 3020786"/>
                <a:gd name="connsiteX2" fmla="*/ 0 w 9144000"/>
                <a:gd name="connsiteY2" fmla="*/ 1905001 h 3020786"/>
                <a:gd name="connsiteX3" fmla="*/ 0 w 9144000"/>
                <a:gd name="connsiteY3" fmla="*/ 671286 h 3020786"/>
                <a:gd name="connsiteX0" fmla="*/ 0 w 9144000"/>
                <a:gd name="connsiteY0" fmla="*/ -1 h 2349499"/>
                <a:gd name="connsiteX1" fmla="*/ 9144000 w 9144000"/>
                <a:gd name="connsiteY1" fmla="*/ -1 h 2349499"/>
                <a:gd name="connsiteX2" fmla="*/ 0 w 9144000"/>
                <a:gd name="connsiteY2" fmla="*/ 1233714 h 2349499"/>
                <a:gd name="connsiteX3" fmla="*/ 0 w 9144000"/>
                <a:gd name="connsiteY3" fmla="*/ -1 h 2349499"/>
                <a:gd name="connsiteX0" fmla="*/ 0 w 9144000"/>
                <a:gd name="connsiteY0" fmla="*/ 0 h 2349500"/>
                <a:gd name="connsiteX1" fmla="*/ 9144000 w 9144000"/>
                <a:gd name="connsiteY1" fmla="*/ 0 h 2349500"/>
                <a:gd name="connsiteX2" fmla="*/ 0 w 9144000"/>
                <a:gd name="connsiteY2" fmla="*/ 1233715 h 2349500"/>
                <a:gd name="connsiteX3" fmla="*/ 0 w 9144000"/>
                <a:gd name="connsiteY3" fmla="*/ 0 h 2349500"/>
                <a:gd name="connsiteX0" fmla="*/ 0 w 9144000"/>
                <a:gd name="connsiteY0" fmla="*/ 0 h 2181679"/>
                <a:gd name="connsiteX1" fmla="*/ 9144000 w 9144000"/>
                <a:gd name="connsiteY1" fmla="*/ 0 h 2181679"/>
                <a:gd name="connsiteX2" fmla="*/ 0 w 9144000"/>
                <a:gd name="connsiteY2" fmla="*/ 1233715 h 2181679"/>
                <a:gd name="connsiteX3" fmla="*/ 0 w 9144000"/>
                <a:gd name="connsiteY3" fmla="*/ 0 h 2181679"/>
                <a:gd name="connsiteX0" fmla="*/ 0 w 9144000"/>
                <a:gd name="connsiteY0" fmla="*/ 0 h 2237619"/>
                <a:gd name="connsiteX1" fmla="*/ 9144000 w 9144000"/>
                <a:gd name="connsiteY1" fmla="*/ 0 h 2237619"/>
                <a:gd name="connsiteX2" fmla="*/ 0 w 9144000"/>
                <a:gd name="connsiteY2" fmla="*/ 1233715 h 2237619"/>
                <a:gd name="connsiteX3" fmla="*/ 0 w 9144000"/>
                <a:gd name="connsiteY3" fmla="*/ 0 h 2237619"/>
                <a:gd name="connsiteX0" fmla="*/ 0 w 10439400"/>
                <a:gd name="connsiteY0" fmla="*/ 0 h 1432615"/>
                <a:gd name="connsiteX1" fmla="*/ 9144000 w 10439400"/>
                <a:gd name="connsiteY1" fmla="*/ 0 h 1432615"/>
                <a:gd name="connsiteX2" fmla="*/ 7772400 w 10439400"/>
                <a:gd name="connsiteY2" fmla="*/ 1193397 h 1432615"/>
                <a:gd name="connsiteX3" fmla="*/ 0 w 10439400"/>
                <a:gd name="connsiteY3" fmla="*/ 1233715 h 1432615"/>
                <a:gd name="connsiteX4" fmla="*/ 0 w 10439400"/>
                <a:gd name="connsiteY4" fmla="*/ 0 h 1432615"/>
                <a:gd name="connsiteX0" fmla="*/ 0 w 10668000"/>
                <a:gd name="connsiteY0" fmla="*/ 0 h 1846539"/>
                <a:gd name="connsiteX1" fmla="*/ 9144000 w 10668000"/>
                <a:gd name="connsiteY1" fmla="*/ 0 h 1846539"/>
                <a:gd name="connsiteX2" fmla="*/ 9144000 w 10668000"/>
                <a:gd name="connsiteY2" fmla="*/ 1640920 h 1846539"/>
                <a:gd name="connsiteX3" fmla="*/ 0 w 10668000"/>
                <a:gd name="connsiteY3" fmla="*/ 1233715 h 1846539"/>
                <a:gd name="connsiteX4" fmla="*/ 0 w 10668000"/>
                <a:gd name="connsiteY4" fmla="*/ 0 h 1846539"/>
                <a:gd name="connsiteX0" fmla="*/ 0 w 10668000"/>
                <a:gd name="connsiteY0" fmla="*/ 234984 h 2081523"/>
                <a:gd name="connsiteX1" fmla="*/ 9144000 w 10668000"/>
                <a:gd name="connsiteY1" fmla="*/ 234984 h 2081523"/>
                <a:gd name="connsiteX2" fmla="*/ 9144000 w 10668000"/>
                <a:gd name="connsiteY2" fmla="*/ 1875904 h 2081523"/>
                <a:gd name="connsiteX3" fmla="*/ 0 w 10668000"/>
                <a:gd name="connsiteY3" fmla="*/ 1468699 h 2081523"/>
                <a:gd name="connsiteX4" fmla="*/ 0 w 10668000"/>
                <a:gd name="connsiteY4" fmla="*/ 234984 h 2081523"/>
                <a:gd name="connsiteX0" fmla="*/ 0 w 9144000"/>
                <a:gd name="connsiteY0" fmla="*/ 234983 h 2081522"/>
                <a:gd name="connsiteX1" fmla="*/ 9144000 w 9144000"/>
                <a:gd name="connsiteY1" fmla="*/ 234983 h 2081522"/>
                <a:gd name="connsiteX2" fmla="*/ 9144000 w 9144000"/>
                <a:gd name="connsiteY2" fmla="*/ 1875903 h 2081522"/>
                <a:gd name="connsiteX3" fmla="*/ 0 w 9144000"/>
                <a:gd name="connsiteY3" fmla="*/ 1468698 h 2081522"/>
                <a:gd name="connsiteX4" fmla="*/ 0 w 9144000"/>
                <a:gd name="connsiteY4" fmla="*/ 234983 h 2081522"/>
                <a:gd name="connsiteX0" fmla="*/ 0 w 9144000"/>
                <a:gd name="connsiteY0" fmla="*/ 730583 h 2577122"/>
                <a:gd name="connsiteX1" fmla="*/ 4940300 w 9144000"/>
                <a:gd name="connsiteY1" fmla="*/ 0 h 2577122"/>
                <a:gd name="connsiteX2" fmla="*/ 9144000 w 9144000"/>
                <a:gd name="connsiteY2" fmla="*/ 730583 h 2577122"/>
                <a:gd name="connsiteX3" fmla="*/ 9144000 w 9144000"/>
                <a:gd name="connsiteY3" fmla="*/ 2371503 h 2577122"/>
                <a:gd name="connsiteX4" fmla="*/ 0 w 9144000"/>
                <a:gd name="connsiteY4" fmla="*/ 1964298 h 2577122"/>
                <a:gd name="connsiteX5" fmla="*/ 0 w 9144000"/>
                <a:gd name="connsiteY5" fmla="*/ 730583 h 2577122"/>
                <a:gd name="connsiteX0" fmla="*/ 0 w 9144000"/>
                <a:gd name="connsiteY0" fmla="*/ 730583 h 2163196"/>
                <a:gd name="connsiteX1" fmla="*/ 4940300 w 9144000"/>
                <a:gd name="connsiteY1" fmla="*/ 0 h 2163196"/>
                <a:gd name="connsiteX2" fmla="*/ 9144000 w 9144000"/>
                <a:gd name="connsiteY2" fmla="*/ 730583 h 2163196"/>
                <a:gd name="connsiteX3" fmla="*/ 9144000 w 9144000"/>
                <a:gd name="connsiteY3" fmla="*/ 1598367 h 2163196"/>
                <a:gd name="connsiteX4" fmla="*/ 0 w 9144000"/>
                <a:gd name="connsiteY4" fmla="*/ 1964298 h 2163196"/>
                <a:gd name="connsiteX5" fmla="*/ 0 w 9144000"/>
                <a:gd name="connsiteY5" fmla="*/ 730583 h 2163196"/>
                <a:gd name="connsiteX0" fmla="*/ 0 w 9144000"/>
                <a:gd name="connsiteY0" fmla="*/ 913051 h 2345664"/>
                <a:gd name="connsiteX1" fmla="*/ 4940300 w 9144000"/>
                <a:gd name="connsiteY1" fmla="*/ 182468 h 2345664"/>
                <a:gd name="connsiteX2" fmla="*/ 9144000 w 9144000"/>
                <a:gd name="connsiteY2" fmla="*/ 296129 h 2345664"/>
                <a:gd name="connsiteX3" fmla="*/ 9144000 w 9144000"/>
                <a:gd name="connsiteY3" fmla="*/ 1780835 h 2345664"/>
                <a:gd name="connsiteX4" fmla="*/ 0 w 9144000"/>
                <a:gd name="connsiteY4" fmla="*/ 2146766 h 2345664"/>
                <a:gd name="connsiteX5" fmla="*/ 0 w 9144000"/>
                <a:gd name="connsiteY5" fmla="*/ 913051 h 2345664"/>
                <a:gd name="connsiteX0" fmla="*/ 0 w 9144000"/>
                <a:gd name="connsiteY0" fmla="*/ 833404 h 2266017"/>
                <a:gd name="connsiteX1" fmla="*/ 4940300 w 9144000"/>
                <a:gd name="connsiteY1" fmla="*/ 102821 h 2266017"/>
                <a:gd name="connsiteX2" fmla="*/ 9144000 w 9144000"/>
                <a:gd name="connsiteY2" fmla="*/ 216482 h 2266017"/>
                <a:gd name="connsiteX3" fmla="*/ 9144000 w 9144000"/>
                <a:gd name="connsiteY3" fmla="*/ 1701188 h 2266017"/>
                <a:gd name="connsiteX4" fmla="*/ 0 w 9144000"/>
                <a:gd name="connsiteY4" fmla="*/ 2067119 h 2266017"/>
                <a:gd name="connsiteX5" fmla="*/ 0 w 9144000"/>
                <a:gd name="connsiteY5" fmla="*/ 833404 h 2266017"/>
                <a:gd name="connsiteX0" fmla="*/ 0 w 9144000"/>
                <a:gd name="connsiteY0" fmla="*/ 832082 h 2264695"/>
                <a:gd name="connsiteX1" fmla="*/ 3568700 w 9144000"/>
                <a:gd name="connsiteY1" fmla="*/ 102821 h 2264695"/>
                <a:gd name="connsiteX2" fmla="*/ 9144000 w 9144000"/>
                <a:gd name="connsiteY2" fmla="*/ 215160 h 2264695"/>
                <a:gd name="connsiteX3" fmla="*/ 9144000 w 9144000"/>
                <a:gd name="connsiteY3" fmla="*/ 1699866 h 2264695"/>
                <a:gd name="connsiteX4" fmla="*/ 0 w 9144000"/>
                <a:gd name="connsiteY4" fmla="*/ 2065797 h 2264695"/>
                <a:gd name="connsiteX5" fmla="*/ 0 w 9144000"/>
                <a:gd name="connsiteY5" fmla="*/ 832082 h 2264695"/>
                <a:gd name="connsiteX0" fmla="*/ 0 w 9144000"/>
                <a:gd name="connsiteY0" fmla="*/ 832082 h 2264695"/>
                <a:gd name="connsiteX1" fmla="*/ 3568700 w 9144000"/>
                <a:gd name="connsiteY1" fmla="*/ 102821 h 2264695"/>
                <a:gd name="connsiteX2" fmla="*/ 9144000 w 9144000"/>
                <a:gd name="connsiteY2" fmla="*/ 215160 h 2264695"/>
                <a:gd name="connsiteX3" fmla="*/ 9144000 w 9144000"/>
                <a:gd name="connsiteY3" fmla="*/ 1699866 h 2264695"/>
                <a:gd name="connsiteX4" fmla="*/ 0 w 9144000"/>
                <a:gd name="connsiteY4" fmla="*/ 2065797 h 2264695"/>
                <a:gd name="connsiteX5" fmla="*/ 0 w 9144000"/>
                <a:gd name="connsiteY5" fmla="*/ 832082 h 2264695"/>
                <a:gd name="connsiteX0" fmla="*/ 0 w 9144000"/>
                <a:gd name="connsiteY0" fmla="*/ 832082 h 2264695"/>
                <a:gd name="connsiteX1" fmla="*/ 3568700 w 9144000"/>
                <a:gd name="connsiteY1" fmla="*/ 102821 h 2264695"/>
                <a:gd name="connsiteX2" fmla="*/ 9144000 w 9144000"/>
                <a:gd name="connsiteY2" fmla="*/ 215160 h 2264695"/>
                <a:gd name="connsiteX3" fmla="*/ 9144000 w 9144000"/>
                <a:gd name="connsiteY3" fmla="*/ 1699866 h 2264695"/>
                <a:gd name="connsiteX4" fmla="*/ 0 w 9144000"/>
                <a:gd name="connsiteY4" fmla="*/ 2065797 h 2264695"/>
                <a:gd name="connsiteX5" fmla="*/ 0 w 9144000"/>
                <a:gd name="connsiteY5" fmla="*/ 832082 h 2264695"/>
                <a:gd name="connsiteX0" fmla="*/ 0 w 9144000"/>
                <a:gd name="connsiteY0" fmla="*/ 761553 h 2194166"/>
                <a:gd name="connsiteX1" fmla="*/ 9144000 w 9144000"/>
                <a:gd name="connsiteY1" fmla="*/ 144631 h 2194166"/>
                <a:gd name="connsiteX2" fmla="*/ 9144000 w 9144000"/>
                <a:gd name="connsiteY2" fmla="*/ 1629337 h 2194166"/>
                <a:gd name="connsiteX3" fmla="*/ 0 w 9144000"/>
                <a:gd name="connsiteY3" fmla="*/ 1995268 h 2194166"/>
                <a:gd name="connsiteX4" fmla="*/ 0 w 9144000"/>
                <a:gd name="connsiteY4" fmla="*/ 761553 h 2194166"/>
                <a:gd name="connsiteX0" fmla="*/ 0 w 9144000"/>
                <a:gd name="connsiteY0" fmla="*/ 761553 h 2442422"/>
                <a:gd name="connsiteX1" fmla="*/ 9144000 w 9144000"/>
                <a:gd name="connsiteY1" fmla="*/ 144631 h 2442422"/>
                <a:gd name="connsiteX2" fmla="*/ 9144000 w 9144000"/>
                <a:gd name="connsiteY2" fmla="*/ 1629337 h 2442422"/>
                <a:gd name="connsiteX3" fmla="*/ 0 w 9144000"/>
                <a:gd name="connsiteY3" fmla="*/ 1995268 h 2442422"/>
                <a:gd name="connsiteX4" fmla="*/ 0 w 9144000"/>
                <a:gd name="connsiteY4" fmla="*/ 761553 h 2442422"/>
                <a:gd name="connsiteX0" fmla="*/ 0 w 9144000"/>
                <a:gd name="connsiteY0" fmla="*/ 1711324 h 3392193"/>
                <a:gd name="connsiteX1" fmla="*/ 9144000 w 9144000"/>
                <a:gd name="connsiteY1" fmla="*/ 1094402 h 3392193"/>
                <a:gd name="connsiteX2" fmla="*/ 9144000 w 9144000"/>
                <a:gd name="connsiteY2" fmla="*/ 2579108 h 3392193"/>
                <a:gd name="connsiteX3" fmla="*/ 0 w 9144000"/>
                <a:gd name="connsiteY3" fmla="*/ 2945039 h 3392193"/>
                <a:gd name="connsiteX4" fmla="*/ 0 w 9144000"/>
                <a:gd name="connsiteY4" fmla="*/ 1711324 h 3392193"/>
                <a:gd name="connsiteX0" fmla="*/ 0 w 9144000"/>
                <a:gd name="connsiteY0" fmla="*/ 1711324 h 3392193"/>
                <a:gd name="connsiteX1" fmla="*/ 9144000 w 9144000"/>
                <a:gd name="connsiteY1" fmla="*/ 1094402 h 3392193"/>
                <a:gd name="connsiteX2" fmla="*/ 9144000 w 9144000"/>
                <a:gd name="connsiteY2" fmla="*/ 2579110 h 3392193"/>
                <a:gd name="connsiteX3" fmla="*/ 0 w 9144000"/>
                <a:gd name="connsiteY3" fmla="*/ 2945039 h 3392193"/>
                <a:gd name="connsiteX4" fmla="*/ 0 w 9144000"/>
                <a:gd name="connsiteY4" fmla="*/ 1711324 h 3392193"/>
                <a:gd name="connsiteX0" fmla="*/ 0 w 9144000"/>
                <a:gd name="connsiteY0" fmla="*/ 1711324 h 3392193"/>
                <a:gd name="connsiteX1" fmla="*/ 9144000 w 9144000"/>
                <a:gd name="connsiteY1" fmla="*/ 1094402 h 3392193"/>
                <a:gd name="connsiteX2" fmla="*/ 9144000 w 9144000"/>
                <a:gd name="connsiteY2" fmla="*/ 2579110 h 3392193"/>
                <a:gd name="connsiteX3" fmla="*/ 0 w 9144000"/>
                <a:gd name="connsiteY3" fmla="*/ 2945039 h 3392193"/>
                <a:gd name="connsiteX4" fmla="*/ 0 w 9144000"/>
                <a:gd name="connsiteY4" fmla="*/ 1711324 h 3392193"/>
                <a:gd name="connsiteX0" fmla="*/ 0 w 9144000"/>
                <a:gd name="connsiteY0" fmla="*/ 1711324 h 3392193"/>
                <a:gd name="connsiteX1" fmla="*/ 9144000 w 9144000"/>
                <a:gd name="connsiteY1" fmla="*/ 1094402 h 3392193"/>
                <a:gd name="connsiteX2" fmla="*/ 9144000 w 9144000"/>
                <a:gd name="connsiteY2" fmla="*/ 2879895 h 3392193"/>
                <a:gd name="connsiteX3" fmla="*/ 0 w 9144000"/>
                <a:gd name="connsiteY3" fmla="*/ 2945039 h 3392193"/>
                <a:gd name="connsiteX4" fmla="*/ 0 w 9144000"/>
                <a:gd name="connsiteY4" fmla="*/ 1711324 h 3392193"/>
                <a:gd name="connsiteX0" fmla="*/ 0 w 9154274"/>
                <a:gd name="connsiteY0" fmla="*/ 1711324 h 3392193"/>
                <a:gd name="connsiteX1" fmla="*/ 9144000 w 9154274"/>
                <a:gd name="connsiteY1" fmla="*/ 1094402 h 3392193"/>
                <a:gd name="connsiteX2" fmla="*/ 9154274 w 9154274"/>
                <a:gd name="connsiteY2" fmla="*/ 2961568 h 3392193"/>
                <a:gd name="connsiteX3" fmla="*/ 0 w 9154274"/>
                <a:gd name="connsiteY3" fmla="*/ 2945039 h 3392193"/>
                <a:gd name="connsiteX4" fmla="*/ 0 w 9154274"/>
                <a:gd name="connsiteY4" fmla="*/ 1711324 h 3392193"/>
                <a:gd name="connsiteX0" fmla="*/ 0 w 9154274"/>
                <a:gd name="connsiteY0" fmla="*/ 1711324 h 3392193"/>
                <a:gd name="connsiteX1" fmla="*/ 9144000 w 9154274"/>
                <a:gd name="connsiteY1" fmla="*/ 1094402 h 3392193"/>
                <a:gd name="connsiteX2" fmla="*/ 9154274 w 9154274"/>
                <a:gd name="connsiteY2" fmla="*/ 3010571 h 3392193"/>
                <a:gd name="connsiteX3" fmla="*/ 0 w 9154274"/>
                <a:gd name="connsiteY3" fmla="*/ 2945039 h 3392193"/>
                <a:gd name="connsiteX4" fmla="*/ 0 w 9154274"/>
                <a:gd name="connsiteY4" fmla="*/ 1711324 h 339219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154274" h="3392193">
                  <a:moveTo>
                    <a:pt x="0" y="1711324"/>
                  </a:moveTo>
                  <a:cubicBezTo>
                    <a:pt x="513708" y="3392193"/>
                    <a:pt x="5445303" y="0"/>
                    <a:pt x="9144000" y="1094402"/>
                  </a:cubicBezTo>
                  <a:cubicBezTo>
                    <a:pt x="9147425" y="1716791"/>
                    <a:pt x="9150849" y="2388182"/>
                    <a:pt x="9154274" y="3010571"/>
                  </a:cubicBezTo>
                  <a:lnTo>
                    <a:pt x="0" y="2945039"/>
                  </a:lnTo>
                  <a:lnTo>
                    <a:pt x="0" y="1711324"/>
                  </a:lnTo>
                  <a:close/>
                </a:path>
              </a:pathLst>
            </a:custGeom>
            <a:grpFill/>
            <a:ln w="9525">
              <a:solidFill>
                <a:srgbClr val="280039"/>
              </a:solidFill>
              <a:miter lim="800000"/>
              <a:headEnd/>
              <a:tailEnd/>
            </a:ln>
            <a:effec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  <a:latin typeface="Arial" charset="0"/>
              </a:endParaRPr>
            </a:p>
          </p:txBody>
        </p:sp>
        <p:sp>
          <p:nvSpPr>
            <p:cNvPr id="22" name="TextBox 21"/>
            <p:cNvSpPr txBox="1"/>
            <p:nvPr/>
          </p:nvSpPr>
          <p:spPr>
            <a:xfrm>
              <a:off x="148630" y="6599885"/>
              <a:ext cx="2505670" cy="246221"/>
            </a:xfrm>
            <a:prstGeom prst="rect">
              <a:avLst/>
            </a:prstGeom>
            <a:grpFill/>
            <a:ln>
              <a:solidFill>
                <a:srgbClr val="280039"/>
              </a:solidFill>
            </a:ln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000" b="1" dirty="0" smtClean="0">
                  <a:solidFill>
                    <a:srgbClr val="FFFFFF"/>
                  </a:solidFill>
                  <a:latin typeface="Arial"/>
                  <a:cs typeface="Arial"/>
                </a:rPr>
                <a:t>Whole System Integrated Care</a:t>
              </a:r>
              <a:endParaRPr lang="en-GB" sz="1000" b="1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</p:grpSp>
      <p:sp>
        <p:nvSpPr>
          <p:cNvPr id="23" name="Freeform 22"/>
          <p:cNvSpPr>
            <a:spLocks/>
          </p:cNvSpPr>
          <p:nvPr userDrawn="1"/>
        </p:nvSpPr>
        <p:spPr bwMode="auto">
          <a:xfrm flipV="1">
            <a:off x="0" y="3352290"/>
            <a:ext cx="8839200" cy="3429000"/>
          </a:xfrm>
          <a:custGeom>
            <a:avLst/>
            <a:gdLst/>
            <a:ahLst/>
            <a:cxnLst>
              <a:cxn ang="0">
                <a:pos x="0" y="2527"/>
              </a:cxn>
              <a:cxn ang="0">
                <a:pos x="6913" y="3360"/>
              </a:cxn>
              <a:cxn ang="0">
                <a:pos x="0" y="2144"/>
              </a:cxn>
              <a:cxn ang="0">
                <a:pos x="0" y="2527"/>
              </a:cxn>
            </a:cxnLst>
            <a:rect l="0" t="0" r="r" b="b"/>
            <a:pathLst>
              <a:path w="6913" h="3360">
                <a:moveTo>
                  <a:pt x="0" y="2527"/>
                </a:moveTo>
                <a:cubicBezTo>
                  <a:pt x="5458" y="360"/>
                  <a:pt x="6913" y="3360"/>
                  <a:pt x="6913" y="3360"/>
                </a:cubicBezTo>
                <a:cubicBezTo>
                  <a:pt x="6913" y="3360"/>
                  <a:pt x="5593" y="0"/>
                  <a:pt x="0" y="2144"/>
                </a:cubicBezTo>
                <a:cubicBezTo>
                  <a:pt x="0" y="2144"/>
                  <a:pt x="0" y="2197"/>
                  <a:pt x="0" y="2527"/>
                </a:cubicBezTo>
                <a:close/>
              </a:path>
            </a:pathLst>
          </a:custGeom>
          <a:solidFill>
            <a:srgbClr val="FC6C09"/>
          </a:solidFill>
          <a:ln w="9525">
            <a:solidFill>
              <a:srgbClr val="FC6C09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24" name="Freeform 9"/>
          <p:cNvSpPr>
            <a:spLocks/>
          </p:cNvSpPr>
          <p:nvPr userDrawn="1"/>
        </p:nvSpPr>
        <p:spPr bwMode="auto">
          <a:xfrm flipH="1">
            <a:off x="1143000" y="-907530"/>
            <a:ext cx="8001000" cy="2590800"/>
          </a:xfrm>
          <a:custGeom>
            <a:avLst/>
            <a:gdLst/>
            <a:ahLst/>
            <a:cxnLst>
              <a:cxn ang="0">
                <a:pos x="0" y="2527"/>
              </a:cxn>
              <a:cxn ang="0">
                <a:pos x="6913" y="3360"/>
              </a:cxn>
              <a:cxn ang="0">
                <a:pos x="0" y="2144"/>
              </a:cxn>
              <a:cxn ang="0">
                <a:pos x="0" y="2527"/>
              </a:cxn>
            </a:cxnLst>
            <a:rect l="0" t="0" r="r" b="b"/>
            <a:pathLst>
              <a:path w="6913" h="3360">
                <a:moveTo>
                  <a:pt x="0" y="2527"/>
                </a:moveTo>
                <a:cubicBezTo>
                  <a:pt x="5458" y="360"/>
                  <a:pt x="6913" y="3360"/>
                  <a:pt x="6913" y="3360"/>
                </a:cubicBezTo>
                <a:cubicBezTo>
                  <a:pt x="6913" y="3360"/>
                  <a:pt x="5593" y="0"/>
                  <a:pt x="0" y="2144"/>
                </a:cubicBezTo>
                <a:cubicBezTo>
                  <a:pt x="0" y="2144"/>
                  <a:pt x="0" y="2197"/>
                  <a:pt x="0" y="2527"/>
                </a:cubicBezTo>
                <a:close/>
              </a:path>
            </a:pathLst>
          </a:custGeom>
          <a:solidFill>
            <a:srgbClr val="FC6C09"/>
          </a:solidFill>
          <a:ln w="9525">
            <a:solidFill>
              <a:srgbClr val="FC6C09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000000"/>
              </a:solidFill>
              <a:latin typeface="Arial" charset="0"/>
            </a:endParaRPr>
          </a:p>
        </p:txBody>
      </p:sp>
      <p:grpSp>
        <p:nvGrpSpPr>
          <p:cNvPr id="8" name="McK Title Elements" hidden="1"/>
          <p:cNvGrpSpPr>
            <a:grpSpLocks/>
          </p:cNvGrpSpPr>
          <p:nvPr userDrawn="1"/>
        </p:nvGrpSpPr>
        <p:grpSpPr bwMode="auto">
          <a:xfrm>
            <a:off x="2393445" y="5575033"/>
            <a:ext cx="5036084" cy="489163"/>
            <a:chOff x="1663" y="3106"/>
            <a:chExt cx="3109" cy="302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Calibri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t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Calibri"/>
                </a:rPr>
                <a:t>Date</a:t>
              </a: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 userDrawn="1">
            <p:ph type="ctrTitle"/>
          </p:nvPr>
        </p:nvSpPr>
        <p:spPr>
          <a:xfrm>
            <a:off x="1857833" y="2275550"/>
            <a:ext cx="6107308" cy="507831"/>
          </a:xfrm>
          <a:prstGeom prst="rect">
            <a:avLst/>
          </a:prstGeom>
        </p:spPr>
        <p:txBody>
          <a:bodyPr wrap="square">
            <a:spAutoFit/>
          </a:bodyPr>
          <a:lstStyle>
            <a:lvl1pPr algn="ctr">
              <a:defRPr sz="33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393445" y="3655438"/>
            <a:ext cx="5036084" cy="276999"/>
          </a:xfrm>
        </p:spPr>
        <p:txBody>
          <a:bodyPr anchor="t" anchorCtr="0">
            <a:spAutoFit/>
          </a:bodyPr>
          <a:lstStyle>
            <a:lvl1pPr algn="ctr">
              <a:defRPr sz="1800" baseline="0"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grpSp>
        <p:nvGrpSpPr>
          <p:cNvPr id="3" name="Group 2"/>
          <p:cNvGrpSpPr/>
          <p:nvPr userDrawn="1"/>
        </p:nvGrpSpPr>
        <p:grpSpPr>
          <a:xfrm>
            <a:off x="228167" y="5860203"/>
            <a:ext cx="947208" cy="732424"/>
            <a:chOff x="228167" y="5860203"/>
            <a:chExt cx="947208" cy="732424"/>
          </a:xfrm>
        </p:grpSpPr>
        <p:sp>
          <p:nvSpPr>
            <p:cNvPr id="29" name="TextBox 28"/>
            <p:cNvSpPr txBox="1"/>
            <p:nvPr/>
          </p:nvSpPr>
          <p:spPr>
            <a:xfrm>
              <a:off x="228167" y="6254073"/>
              <a:ext cx="94720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800" dirty="0" smtClean="0">
                  <a:solidFill>
                    <a:srgbClr val="000000"/>
                  </a:solidFill>
                  <a:latin typeface="Arial"/>
                  <a:cs typeface="Arial"/>
                </a:rPr>
                <a:t>Living </a:t>
              </a:r>
              <a:r>
                <a:rPr lang="en-GB" sz="800" b="1" i="1" dirty="0" smtClean="0">
                  <a:solidFill>
                    <a:srgbClr val="000000"/>
                  </a:solidFill>
                  <a:latin typeface="Arial"/>
                  <a:cs typeface="Arial"/>
                </a:rPr>
                <a:t>longer</a:t>
              </a:r>
              <a:r>
                <a:rPr lang="en-GB" sz="800" dirty="0" smtClean="0">
                  <a:solidFill>
                    <a:srgbClr val="000000"/>
                  </a:solidFill>
                  <a:latin typeface="Arial"/>
                  <a:cs typeface="Arial"/>
                </a:rPr>
                <a:t> and living</a:t>
              </a:r>
              <a:r>
                <a:rPr lang="en-GB" sz="800" b="1" i="1" dirty="0" smtClean="0">
                  <a:solidFill>
                    <a:srgbClr val="000000"/>
                  </a:solidFill>
                  <a:latin typeface="Arial"/>
                  <a:cs typeface="Arial"/>
                </a:rPr>
                <a:t> well</a:t>
              </a:r>
              <a:endParaRPr lang="en-GB" sz="800" b="1" i="1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pic>
          <p:nvPicPr>
            <p:cNvPr id="17412" name="Picture 4"/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7176" y="5860203"/>
              <a:ext cx="476250" cy="40798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1853351" y="134715"/>
            <a:ext cx="740587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b="1" dirty="0" smtClean="0">
                <a:solidFill>
                  <a:srgbClr val="000000"/>
                </a:solidFill>
                <a:latin typeface="Calibri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1853351" y="234352"/>
            <a:ext cx="2364430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smtClean="0">
                <a:solidFill>
                  <a:srgbClr val="000000"/>
                </a:solidFill>
                <a:latin typeface="Calibri"/>
              </a:rPr>
              <a:t>Last Modified 10/20/2014 5:14 PM GMT Standard Time</a:t>
            </a:r>
            <a:endParaRPr lang="en-GB" sz="8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1853351" y="333990"/>
            <a:ext cx="204062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800" smtClean="0">
                <a:solidFill>
                  <a:srgbClr val="000000"/>
                </a:solidFill>
                <a:latin typeface="Calibri"/>
              </a:rPr>
              <a:t>Printed 10/15/2014 1:52 PM GMT Standard Time</a:t>
            </a:r>
            <a:endParaRPr lang="en-GB" sz="800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34" name="doc id"/>
          <p:cNvSpPr>
            <a:spLocks noChangeArrowheads="1"/>
          </p:cNvSpPr>
          <p:nvPr userDrawn="1"/>
        </p:nvSpPr>
        <p:spPr bwMode="auto">
          <a:xfrm>
            <a:off x="8225940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GB" sz="8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515626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35683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04409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14465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509000" y="6398462"/>
            <a:ext cx="539750" cy="40873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  <a:latin typeface="Avenir Heavy"/>
                <a:cs typeface="Avenir Heavy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7EF56C9-A4DE-C34B-B722-1F368452E597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58762" y="263525"/>
            <a:ext cx="8630841" cy="369332"/>
          </a:xfrm>
          <a:prstGeom prst="rect">
            <a:avLst/>
          </a:prstGeom>
        </p:spPr>
        <p:txBody>
          <a:bodyPr/>
          <a:lstStyle>
            <a:lvl1pPr algn="l">
              <a:defRPr sz="2400" cap="none">
                <a:solidFill>
                  <a:srgbClr val="505859"/>
                </a:solidFill>
                <a:latin typeface="Avenir Black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2" name="TextBox 1"/>
          <p:cNvSpPr txBox="1"/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4373D9B-6FCE-4F12-8A69-B7F878DC2F15}" type="slidenum">
              <a:rPr lang="en-GB" sz="1000" smtClean="0">
                <a:solidFill>
                  <a:srgbClr val="000000"/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sz="1000" dirty="0">
              <a:solidFill>
                <a:srgbClr val="00000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34265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730249" y="1521700"/>
            <a:ext cx="7790981" cy="276999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800" b="0" i="0" cap="none" baseline="0">
                <a:solidFill>
                  <a:srgbClr val="505850"/>
                </a:solidFill>
                <a:latin typeface="Avenir Black"/>
              </a:defRPr>
            </a:lvl1pPr>
            <a:lvl2pPr>
              <a:defRPr sz="2400">
                <a:solidFill>
                  <a:srgbClr val="505859"/>
                </a:solidFill>
                <a:latin typeface="Avenir Book"/>
              </a:defRPr>
            </a:lvl2pPr>
            <a:lvl3pPr>
              <a:defRPr sz="2000">
                <a:solidFill>
                  <a:srgbClr val="505859"/>
                </a:solidFill>
                <a:latin typeface="Avenir Book"/>
              </a:defRPr>
            </a:lvl3pPr>
            <a:lvl4pPr>
              <a:defRPr sz="1800">
                <a:solidFill>
                  <a:srgbClr val="505859"/>
                </a:solidFill>
                <a:latin typeface="Avenir Book"/>
              </a:defRPr>
            </a:lvl4pPr>
            <a:lvl5pPr>
              <a:defRPr sz="1800">
                <a:solidFill>
                  <a:srgbClr val="505859"/>
                </a:solidFill>
                <a:latin typeface="Avenir Book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730250" y="1978900"/>
            <a:ext cx="7778750" cy="215444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sz="1400" cap="none" baseline="0">
                <a:solidFill>
                  <a:srgbClr val="505850"/>
                </a:solidFill>
                <a:latin typeface="Avenir Book"/>
              </a:defRPr>
            </a:lvl1pPr>
            <a:lvl2pPr>
              <a:defRPr sz="2400">
                <a:solidFill>
                  <a:srgbClr val="505859"/>
                </a:solidFill>
                <a:latin typeface="Avenir Book"/>
              </a:defRPr>
            </a:lvl2pPr>
            <a:lvl3pPr>
              <a:defRPr sz="2000">
                <a:solidFill>
                  <a:srgbClr val="505859"/>
                </a:solidFill>
                <a:latin typeface="Avenir Book"/>
              </a:defRPr>
            </a:lvl3pPr>
            <a:lvl4pPr>
              <a:defRPr sz="1800">
                <a:solidFill>
                  <a:srgbClr val="505859"/>
                </a:solidFill>
                <a:latin typeface="Avenir Book"/>
              </a:defRPr>
            </a:lvl4pPr>
            <a:lvl5pPr>
              <a:defRPr sz="1800">
                <a:solidFill>
                  <a:srgbClr val="505859"/>
                </a:solidFill>
                <a:latin typeface="Avenir Book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</a:t>
            </a:r>
            <a:endParaRPr lang="en-GB" dirty="0"/>
          </a:p>
        </p:txBody>
      </p:sp>
      <p:sp>
        <p:nvSpPr>
          <p:cNvPr id="8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8509000" y="6398462"/>
            <a:ext cx="539750" cy="408738"/>
          </a:xfrm>
          <a:prstGeom prst="rect">
            <a:avLst/>
          </a:prstGeom>
        </p:spPr>
        <p:txBody>
          <a:bodyPr/>
          <a:lstStyle>
            <a:lvl1pPr algn="ctr">
              <a:defRPr sz="1800">
                <a:solidFill>
                  <a:schemeClr val="bg1"/>
                </a:solidFill>
                <a:latin typeface="Avenir Heavy"/>
                <a:cs typeface="Avenir Heavy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7EF56C9-A4DE-C34B-B722-1F368452E597}" type="slidenum">
              <a:rPr lang="en-GB" smtClean="0">
                <a:solidFill>
                  <a:srgbClr val="FFFF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195376" y="130241"/>
            <a:ext cx="2538299" cy="83028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FFFFFF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258762" y="263525"/>
            <a:ext cx="8630841" cy="369332"/>
          </a:xfrm>
          <a:prstGeom prst="rect">
            <a:avLst/>
          </a:prstGeom>
        </p:spPr>
        <p:txBody>
          <a:bodyPr/>
          <a:lstStyle>
            <a:lvl1pPr algn="l">
              <a:defRPr sz="2400" cap="none">
                <a:solidFill>
                  <a:srgbClr val="505859"/>
                </a:solidFill>
                <a:latin typeface="Avenir Black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25176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/>
          <p:cNvSpPr txBox="1">
            <a:spLocks noChangeArrowheads="1"/>
          </p:cNvSpPr>
          <p:nvPr/>
        </p:nvSpPr>
        <p:spPr bwMode="auto">
          <a:xfrm>
            <a:off x="381508" y="106484"/>
            <a:ext cx="1014109" cy="141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b="1" dirty="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614312" y="37255"/>
            <a:ext cx="301290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GB" sz="8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/>
          <p:cNvSpPr txBox="1">
            <a:spLocks noChangeArrowheads="1"/>
          </p:cNvSpPr>
          <p:nvPr/>
        </p:nvSpPr>
        <p:spPr bwMode="auto">
          <a:xfrm>
            <a:off x="381508" y="265219"/>
            <a:ext cx="289822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900" smtClean="0">
                <a:solidFill>
                  <a:srgbClr val="000000"/>
                </a:solidFill>
                <a:latin typeface="Arial"/>
                <a:ea typeface="Arial Unicode MS" pitchFamily="34" charset="-128"/>
                <a:cs typeface="Arial Unicode MS" pitchFamily="34" charset="-128"/>
              </a:rPr>
              <a:t>Last Modified 10/20/2014 5:14 PM GMT Standard Time</a:t>
            </a:r>
            <a:endParaRPr lang="en-GB" sz="900" dirty="0" smtClean="0">
              <a:solidFill>
                <a:srgbClr val="000000"/>
              </a:solidFill>
              <a:latin typeface="Arial"/>
              <a:ea typeface="Arial Unicode MS" pitchFamily="34" charset="-128"/>
              <a:cs typeface="Arial Unicode MS" pitchFamily="34" charset="-128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1" y="1"/>
            <a:ext cx="9140760" cy="6859620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14"/>
              <a:ext cx="3226" cy="15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800" dirty="0" smtClean="0">
                  <a:solidFill>
                    <a:srgbClr val="000000"/>
                  </a:solidFill>
                </a:rPr>
                <a:t>CONFIDENTIAL AND PROPRIETARY</a:t>
              </a:r>
            </a:p>
            <a:p>
              <a:pPr defTabSz="821202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800" dirty="0" smtClean="0">
                  <a:solidFill>
                    <a:srgbClr val="000000"/>
                  </a:solidFill>
                </a:rPr>
                <a:t>Any use of this material without specific permission of McKinsey &amp; Company is strictly prohibited</a:t>
              </a:r>
              <a:endParaRPr lang="en-GB" sz="800" dirty="0">
                <a:solidFill>
                  <a:srgbClr val="000000"/>
                </a:solidFill>
              </a:endParaRP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237000" y="6433627"/>
            <a:ext cx="6905379" cy="429233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20060" y="6574545"/>
            <a:ext cx="1670055" cy="195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93795" y="2176938"/>
            <a:ext cx="5036084" cy="1015663"/>
          </a:xfrm>
          <a:prstGeom prst="rect">
            <a:avLst/>
          </a:prstGeom>
        </p:spPr>
        <p:txBody>
          <a:bodyPr/>
          <a:lstStyle>
            <a:lvl1pPr>
              <a:defRPr sz="3300" b="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93795" y="3945699"/>
            <a:ext cx="5036084" cy="219820"/>
          </a:xfrm>
        </p:spPr>
        <p:txBody>
          <a:bodyPr>
            <a:spAutoFit/>
          </a:bodyPr>
          <a:lstStyle>
            <a:lvl1pPr>
              <a:defRPr sz="1400" baseline="0"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018795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68D53-79BF-4611-9262-6FCA6F992D41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61444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+mj-lt"/>
                <a:ea typeface="Arial Unicode MS" pitchFamily="34" charset="-128"/>
                <a:cs typeface="Arial Unicode MS" pitchFamily="34" charset="-128"/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719602" y="6566446"/>
            <a:ext cx="21300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GB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648401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 dirty="0" smtClean="0"/>
              <a:t>Click to edit Master subtitle style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EC3D76-A2E1-4A2F-822D-62525663EAA9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18335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068D53-79BF-4611-9262-6FCA6F992D41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05676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71947-7873-44F6-A980-8BCA35DEAD8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54184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6369F-2D4D-4343-937E-5C9EDA3B55E7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229121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7DED5-B1DF-4562-B5B5-A7A7C235F766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725466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D76C9-7C93-4FD6-A195-03C8676446CD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4755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02CFA-8C4B-4EAA-A7F6-A4594DFA68B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9659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B59939-A177-4A55-A12D-37C9C1F579BB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39132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88BAF-1EC6-4F9E-B4A2-FBDFCE1C4075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00427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271947-7873-44F6-A980-8BCA35DEAD8E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63814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F4A1F1-8E81-4A5A-A345-9A29F3A5F88E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88882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BFCCFC-8CD0-4D3C-9E0F-E9990780D5B3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0136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6369F-2D4D-4343-937E-5C9EDA3B55E7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704663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17DED5-B1DF-4562-B5B5-A7A7C235F766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51599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1DD76C9-7C93-4FD6-A195-03C8676446CD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61207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902CFA-8C4B-4EAA-A7F6-A4594DFA68B8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44005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B59939-A177-4A55-A12D-37C9C1F579BB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575537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688BAF-1EC6-4F9E-B4A2-FBDFCE1C4075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7382845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heme" Target="../theme/theme2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Relationship Id="rId9" Type="http://schemas.openxmlformats.org/officeDocument/2006/relationships/image" Target="../media/image2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16.xml"/><Relationship Id="rId21" Type="http://schemas.openxmlformats.org/officeDocument/2006/relationships/tags" Target="../tags/tag20.xml"/><Relationship Id="rId7" Type="http://schemas.openxmlformats.org/officeDocument/2006/relationships/vmlDrawing" Target="../drawings/vmlDrawing3.v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image" Target="../media/image2.emf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1" Type="http://schemas.openxmlformats.org/officeDocument/2006/relationships/slideLayout" Target="../slideLayouts/slideLayout14.xml"/><Relationship Id="rId6" Type="http://schemas.openxmlformats.org/officeDocument/2006/relationships/theme" Target="../theme/theme3.xml"/><Relationship Id="rId11" Type="http://schemas.openxmlformats.org/officeDocument/2006/relationships/tags" Target="../tags/tag10.xml"/><Relationship Id="rId24" Type="http://schemas.openxmlformats.org/officeDocument/2006/relationships/oleObject" Target="../embeddings/oleObject3.bin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4" Type="http://schemas.openxmlformats.org/officeDocument/2006/relationships/slideLayout" Target="../slideLayouts/slideLayout17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heme" Target="../theme/theme4.xml"/><Relationship Id="rId7" Type="http://schemas.openxmlformats.org/officeDocument/2006/relationships/tags" Target="../tags/tag26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tags" Target="../tags/tag25.xml"/><Relationship Id="rId5" Type="http://schemas.openxmlformats.org/officeDocument/2006/relationships/tags" Target="../tags/tag24.xml"/><Relationship Id="rId4" Type="http://schemas.openxmlformats.org/officeDocument/2006/relationships/vmlDrawing" Target="../drawings/vmlDrawing5.vml"/><Relationship Id="rId9" Type="http://schemas.openxmlformats.org/officeDocument/2006/relationships/image" Target="../media/image2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vmlDrawing" Target="../drawings/vmlDrawing6.v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oleObject" Target="../embeddings/oleObject6.bin"/><Relationship Id="rId10" Type="http://schemas.openxmlformats.org/officeDocument/2006/relationships/slideLayout" Target="../slideLayouts/slideLayout30.xml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tags" Target="../tags/tag2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7801851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5A887A-E61C-4C43-B117-1ABA0CAEEBE8}" type="datetime1">
              <a:rPr lang="en-GB" smtClean="0"/>
              <a:t>23/10/2014</a:t>
            </a:fld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7FB5E3-6C5D-4837-BFD8-F25BE6938A8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573606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68458331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3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69"/>
            <a:ext cx="9144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</a:rPr>
              <a:t>TRACKER</a:t>
            </a:r>
            <a:endParaRPr lang="en-GB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GB" sz="1000" dirty="0" smtClean="0">
                  <a:solidFill>
                    <a:srgbClr val="000000"/>
                  </a:solidFill>
                </a:rPr>
                <a:t>SOURCE: Source</a:t>
              </a:r>
              <a:endParaRPr lang="en-GB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</a:rPr>
                <a:t>Unit of measure</a:t>
              </a:r>
              <a:endParaRPr lang="en-GB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32588" y="6566446"/>
            <a:ext cx="1269955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McKinsey &amp; Company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</a:rPr>
              <a:t>|</a:t>
            </a:r>
            <a:endParaRPr lang="en-GB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5257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213083536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217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186265" y="2326298"/>
            <a:ext cx="177292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Calibri"/>
              </a:rPr>
              <a:t>Last Modified 10/20/2014 5:14 PM GMT Standard Time</a:t>
            </a:r>
            <a:endParaRPr lang="en-GB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306493" y="4544278"/>
            <a:ext cx="153247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600" smtClean="0">
                <a:solidFill>
                  <a:srgbClr val="000000"/>
                </a:solidFill>
                <a:latin typeface="Calibri"/>
              </a:rPr>
              <a:t>Printed 10/15/2014 1:52 PM GMT Standard Time</a:t>
            </a:r>
            <a:endParaRPr lang="en-GB" dirty="0" smtClean="0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2608601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00060" y="225142"/>
            <a:ext cx="8794113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00060" y="0"/>
            <a:ext cx="66390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</a:rPr>
              <a:t>TRACKER</a:t>
            </a:r>
            <a:endParaRPr lang="en-GB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00060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srgbClr val="808080"/>
                </a:solidFill>
                <a:latin typeface="Calibri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948906" y="6402035"/>
            <a:ext cx="7947648" cy="362823"/>
            <a:chOff x="75" y="3926"/>
            <a:chExt cx="5385" cy="22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926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93663" indent="-93663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5"/>
              <a:ext cx="4907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417513" indent="-417513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GB" sz="1000" dirty="0" smtClean="0">
                  <a:solidFill>
                    <a:srgbClr val="000000"/>
                  </a:solidFill>
                </a:rPr>
                <a:t>Source: Source</a:t>
              </a:r>
              <a:endParaRPr lang="en-GB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2027112"/>
            <a:ext cx="4389768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</a:rPr>
                <a:t>Unit of measure</a:t>
              </a:r>
              <a:endParaRPr lang="en-GB" sz="1600" dirty="0">
                <a:solidFill>
                  <a:srgbClr val="808080"/>
                </a:solidFill>
              </a:endParaRPr>
            </a:p>
          </p:txBody>
        </p:sp>
      </p:grpSp>
      <p:grpSp>
        <p:nvGrpSpPr>
          <p:cNvPr id="3" name="Group 2"/>
          <p:cNvGrpSpPr/>
          <p:nvPr/>
        </p:nvGrpSpPr>
        <p:grpSpPr>
          <a:xfrm>
            <a:off x="12701" y="6163982"/>
            <a:ext cx="901700" cy="639057"/>
            <a:chOff x="12701" y="6235702"/>
            <a:chExt cx="901700" cy="639057"/>
          </a:xfrm>
        </p:grpSpPr>
        <p:sp>
          <p:nvSpPr>
            <p:cNvPr id="24" name="TextBox 23"/>
            <p:cNvSpPr txBox="1"/>
            <p:nvPr/>
          </p:nvSpPr>
          <p:spPr>
            <a:xfrm>
              <a:off x="12701" y="6536205"/>
              <a:ext cx="90170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8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iving </a:t>
              </a:r>
              <a:r>
                <a:rPr lang="en-GB" sz="800" b="1" i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longer</a:t>
              </a:r>
              <a:r>
                <a:rPr lang="en-GB" sz="8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and living</a:t>
              </a:r>
              <a:r>
                <a:rPr lang="en-GB" sz="800" b="1" i="1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 well</a:t>
              </a:r>
              <a:endParaRPr lang="en-GB" sz="800" b="1" i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pic>
          <p:nvPicPr>
            <p:cNvPr id="12314" name="Picture 26"/>
            <p:cNvPicPr>
              <a:picLocks noChangeAspect="1" noChangeArrowheads="1"/>
            </p:cNvPicPr>
            <p:nvPr userDrawn="1"/>
          </p:nvPicPr>
          <p:blipFill>
            <a:blip r:embed="rId2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204548" y="6235702"/>
              <a:ext cx="371888" cy="31092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grpSp>
        <p:nvGrpSpPr>
          <p:cNvPr id="31" name="LegendBoxes" hidden="1"/>
          <p:cNvGrpSpPr>
            <a:grpSpLocks/>
          </p:cNvGrpSpPr>
          <p:nvPr/>
        </p:nvGrpSpPr>
        <p:grpSpPr bwMode="auto">
          <a:xfrm>
            <a:off x="8190910" y="300911"/>
            <a:ext cx="703263" cy="996951"/>
            <a:chOff x="4936" y="176"/>
            <a:chExt cx="443" cy="628"/>
          </a:xfrm>
        </p:grpSpPr>
        <p:sp>
          <p:nvSpPr>
            <p:cNvPr id="32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33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34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35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36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37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38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39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0" name="LegendLines" hidden="1"/>
          <p:cNvGrpSpPr>
            <a:grpSpLocks/>
          </p:cNvGrpSpPr>
          <p:nvPr/>
        </p:nvGrpSpPr>
        <p:grpSpPr bwMode="auto">
          <a:xfrm>
            <a:off x="7882935" y="300911"/>
            <a:ext cx="1011238" cy="730251"/>
            <a:chOff x="4750" y="176"/>
            <a:chExt cx="637" cy="460"/>
          </a:xfrm>
        </p:grpSpPr>
        <p:sp>
          <p:nvSpPr>
            <p:cNvPr id="41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42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43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GB" sz="1600" dirty="0">
                <a:solidFill>
                  <a:srgbClr val="000000"/>
                </a:solidFill>
              </a:endParaRPr>
            </a:p>
          </p:txBody>
        </p:sp>
        <p:sp>
          <p:nvSpPr>
            <p:cNvPr id="44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45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46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83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47" name="McKSticker" hidden="1"/>
          <p:cNvGrpSpPr/>
          <p:nvPr/>
        </p:nvGrpSpPr>
        <p:grpSpPr bwMode="auto">
          <a:xfrm>
            <a:off x="8009508" y="300911"/>
            <a:ext cx="884665" cy="212366"/>
            <a:chOff x="7856110" y="285750"/>
            <a:chExt cx="884665" cy="212366"/>
          </a:xfrm>
        </p:grpSpPr>
        <p:sp>
          <p:nvSpPr>
            <p:cNvPr id="48" name="StickerRectangle"/>
            <p:cNvSpPr>
              <a:spLocks noChangeArrowheads="1"/>
            </p:cNvSpPr>
            <p:nvPr/>
          </p:nvSpPr>
          <p:spPr bwMode="auto">
            <a:xfrm>
              <a:off x="7856110" y="285750"/>
              <a:ext cx="88466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808080"/>
                  </a:solidFill>
                </a:rPr>
                <a:t>PRELIMINARY</a:t>
              </a:r>
              <a:endParaRPr lang="en-GB" sz="1200" dirty="0">
                <a:solidFill>
                  <a:srgbClr val="808080"/>
                </a:solidFill>
              </a:endParaRPr>
            </a:p>
          </p:txBody>
        </p:sp>
        <p:cxnSp>
          <p:nvCxnSpPr>
            <p:cNvPr id="49" name="AutoShape 31"/>
            <p:cNvCxnSpPr>
              <a:cxnSpLocks noChangeShapeType="1"/>
              <a:stCxn id="48" idx="2"/>
              <a:endCxn id="48" idx="4"/>
            </p:cNvCxnSpPr>
            <p:nvPr/>
          </p:nvCxnSpPr>
          <p:spPr bwMode="auto">
            <a:xfrm>
              <a:off x="785611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50" name="AutoShape 32"/>
            <p:cNvCxnSpPr>
              <a:cxnSpLocks noChangeShapeType="1"/>
              <a:stCxn id="48" idx="4"/>
              <a:endCxn id="48" idx="6"/>
            </p:cNvCxnSpPr>
            <p:nvPr/>
          </p:nvCxnSpPr>
          <p:spPr bwMode="auto">
            <a:xfrm>
              <a:off x="7856110" y="498116"/>
              <a:ext cx="88466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51" name="LegendMoons" hidden="1"/>
          <p:cNvGrpSpPr/>
          <p:nvPr/>
        </p:nvGrpSpPr>
        <p:grpSpPr bwMode="auto">
          <a:xfrm>
            <a:off x="8124336" y="300911"/>
            <a:ext cx="769837" cy="1306516"/>
            <a:chOff x="6655594" y="273840"/>
            <a:chExt cx="769837" cy="1306516"/>
          </a:xfrm>
        </p:grpSpPr>
        <p:grpSp>
          <p:nvGrpSpPr>
            <p:cNvPr id="52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70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1" name="Arc 39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3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68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9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4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66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7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55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64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5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56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57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58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59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sp>
          <p:nvSpPr>
            <p:cNvPr id="60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449162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 fontAlgn="base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</a:pPr>
              <a:r>
                <a:rPr lang="en-GB" sz="1200" dirty="0" smtClean="0">
                  <a:solidFill>
                    <a:srgbClr val="000000"/>
                  </a:solidFill>
                </a:rPr>
                <a:t>Legend</a:t>
              </a:r>
              <a:endParaRPr lang="en-GB" sz="1200" dirty="0">
                <a:solidFill>
                  <a:srgbClr val="000000"/>
                </a:solidFill>
              </a:endParaRPr>
            </a:p>
          </p:txBody>
        </p:sp>
        <p:grpSp>
          <p:nvGrpSpPr>
            <p:cNvPr id="61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62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63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GB" sz="1600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35113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0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2pPr>
      <a:lvl3pPr marL="442913" indent="-24447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9125" indent="-17621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itchFamily="34" charset="0"/>
        <a:buChar char="•"/>
        <a:defRPr sz="1600" baseline="0">
          <a:solidFill>
            <a:schemeClr val="tx1"/>
          </a:solidFill>
          <a:latin typeface="+mn-lt"/>
        </a:defRPr>
      </a:lvl4pPr>
      <a:lvl5pPr marL="785813" indent="-16668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2830437"/>
              </p:ext>
            </p:extLst>
          </p:nvPr>
        </p:nvGraphicFramePr>
        <p:xfrm>
          <a:off x="0" y="0"/>
          <a:ext cx="161984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3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61984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428769"/>
            <a:ext cx="9144000" cy="430852"/>
          </a:xfrm>
          <a:prstGeom prst="rect">
            <a:avLst/>
          </a:prstGeom>
          <a:solidFill>
            <a:srgbClr val="C7DFF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GB" sz="1600" dirty="0">
              <a:solidFill>
                <a:srgbClr val="000000"/>
              </a:solidFill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246609" y="37255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endParaRPr lang="en-GB" sz="800" dirty="0">
              <a:solidFill>
                <a:srgbClr val="000000"/>
              </a:solidFill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82155" y="1990667"/>
            <a:ext cx="4389768" cy="1256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21489" y="234863"/>
            <a:ext cx="8794113" cy="298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21488" y="27536"/>
            <a:ext cx="876714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GB" sz="1400" dirty="0" smtClean="0">
                <a:solidFill>
                  <a:srgbClr val="808080"/>
                </a:solidFill>
              </a:rPr>
              <a:t>TRACKER</a:t>
            </a:r>
            <a:endParaRPr lang="en-GB" sz="1400" dirty="0">
              <a:solidFill>
                <a:srgbClr val="808080"/>
              </a:solidFill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21488" y="542616"/>
            <a:ext cx="8794113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21489" y="6203623"/>
            <a:ext cx="8722840" cy="518318"/>
            <a:chOff x="75" y="3830"/>
            <a:chExt cx="5385" cy="32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30"/>
              <a:ext cx="5385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GB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75" indent="-621975" defTabSz="913526" fontAlgn="base">
                <a:spcBef>
                  <a:spcPct val="0"/>
                </a:spcBef>
                <a:spcAft>
                  <a:spcPct val="0"/>
                </a:spcAft>
                <a:tabLst>
                  <a:tab pos="625214" algn="l"/>
                </a:tabLst>
              </a:pPr>
              <a:r>
                <a:rPr lang="en-GB" sz="1000" dirty="0" smtClean="0">
                  <a:solidFill>
                    <a:srgbClr val="000000"/>
                  </a:solidFill>
                </a:rPr>
                <a:t>SOURCE: Source</a:t>
              </a:r>
              <a:endParaRPr lang="en-GB" sz="10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82155" y="1150019"/>
            <a:ext cx="4350892" cy="518318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b="1" dirty="0" smtClean="0">
                  <a:solidFill>
                    <a:srgbClr val="000000"/>
                  </a:solidFill>
                </a:rPr>
                <a:t>Title</a:t>
              </a:r>
            </a:p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r>
                <a:rPr lang="en-GB" sz="1600" dirty="0" smtClean="0">
                  <a:solidFill>
                    <a:srgbClr val="808080"/>
                  </a:solidFill>
                </a:rPr>
                <a:t>Unit of measure</a:t>
              </a:r>
              <a:endParaRPr lang="en-GB" sz="1600" dirty="0">
                <a:solidFill>
                  <a:srgbClr val="808080"/>
                </a:solidFill>
              </a:endParaRPr>
            </a:p>
          </p:txBody>
        </p:sp>
      </p:grpSp>
      <p:sp>
        <p:nvSpPr>
          <p:cNvPr id="20" name="SlideLogoText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7232588" y="6566446"/>
            <a:ext cx="1269955" cy="1554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000000"/>
                </a:solidFill>
              </a:rPr>
              <a:t>McKinsey &amp; Company</a:t>
            </a:r>
            <a:endParaRPr lang="en-GB" sz="1000" dirty="0">
              <a:solidFill>
                <a:srgbClr val="000000"/>
              </a:solidFill>
            </a:endParaRPr>
          </a:p>
        </p:txBody>
      </p:sp>
      <p:sp>
        <p:nvSpPr>
          <p:cNvPr id="21" name="SlideLogoSeparato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8590626" y="6534052"/>
            <a:ext cx="40892" cy="186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913526" fontAlgn="base">
              <a:spcBef>
                <a:spcPct val="0"/>
              </a:spcBef>
              <a:spcAft>
                <a:spcPct val="0"/>
              </a:spcAft>
            </a:pPr>
            <a:r>
              <a:rPr lang="en-GB" sz="1200" dirty="0" smtClean="0">
                <a:solidFill>
                  <a:srgbClr val="000000"/>
                </a:solidFill>
              </a:rPr>
              <a:t>|</a:t>
            </a:r>
            <a:endParaRPr lang="en-GB" sz="12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7146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900" b="1" baseline="0">
          <a:solidFill>
            <a:schemeClr val="tx2"/>
          </a:solidFill>
          <a:latin typeface="+mj-lt"/>
          <a:ea typeface="Arial Unicode MS" pitchFamily="34" charset="-128"/>
          <a:cs typeface="Arial Unicode MS" pitchFamily="34" charset="-128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  <a:ea typeface="Arial Unicode MS" pitchFamily="34" charset="-128"/>
          <a:cs typeface="Arial Unicode MS" pitchFamily="34" charset="-128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6063900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55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 dirty="0" smtClean="0"/>
              <a:t>Click to edit Master text styles</a:t>
            </a:r>
          </a:p>
          <a:p>
            <a:pPr lvl="1"/>
            <a:r>
              <a:rPr lang="en-GB" dirty="0" smtClean="0"/>
              <a:t>Second level</a:t>
            </a:r>
          </a:p>
          <a:p>
            <a:pPr lvl="2"/>
            <a:r>
              <a:rPr lang="en-GB" dirty="0" smtClean="0"/>
              <a:t>Third level</a:t>
            </a:r>
          </a:p>
          <a:p>
            <a:pPr lvl="3"/>
            <a:r>
              <a:rPr lang="en-GB" dirty="0" smtClean="0"/>
              <a:t>Fourth level</a:t>
            </a:r>
          </a:p>
          <a:p>
            <a:pPr lvl="4"/>
            <a:r>
              <a:rPr lang="en-GB" dirty="0" smtClean="0"/>
              <a:t>Fifth level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F5A887A-E61C-4C43-B117-1ABA0CAEEBE8}" type="datetime1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23/10/2014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2333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.xml"/><Relationship Id="rId2" Type="http://schemas.openxmlformats.org/officeDocument/2006/relationships/tags" Target="../tags/tag2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.xml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36.xml"/><Relationship Id="rId13" Type="http://schemas.openxmlformats.org/officeDocument/2006/relationships/tags" Target="../tags/tag41.xml"/><Relationship Id="rId18" Type="http://schemas.openxmlformats.org/officeDocument/2006/relationships/image" Target="../media/image14.emf"/><Relationship Id="rId26" Type="http://schemas.openxmlformats.org/officeDocument/2006/relationships/image" Target="../media/image22.png"/><Relationship Id="rId3" Type="http://schemas.openxmlformats.org/officeDocument/2006/relationships/tags" Target="../tags/tag31.xml"/><Relationship Id="rId21" Type="http://schemas.openxmlformats.org/officeDocument/2006/relationships/image" Target="../media/image17.png"/><Relationship Id="rId7" Type="http://schemas.openxmlformats.org/officeDocument/2006/relationships/tags" Target="../tags/tag35.xml"/><Relationship Id="rId12" Type="http://schemas.openxmlformats.org/officeDocument/2006/relationships/tags" Target="../tags/tag40.xml"/><Relationship Id="rId17" Type="http://schemas.openxmlformats.org/officeDocument/2006/relationships/oleObject" Target="../embeddings/oleObject8.bin"/><Relationship Id="rId25" Type="http://schemas.openxmlformats.org/officeDocument/2006/relationships/image" Target="../media/image21.png"/><Relationship Id="rId33" Type="http://schemas.openxmlformats.org/officeDocument/2006/relationships/image" Target="../media/image28.png"/><Relationship Id="rId2" Type="http://schemas.openxmlformats.org/officeDocument/2006/relationships/tags" Target="../tags/tag30.xml"/><Relationship Id="rId16" Type="http://schemas.openxmlformats.org/officeDocument/2006/relationships/slideLayout" Target="../slideLayouts/slideLayout26.xml"/><Relationship Id="rId20" Type="http://schemas.openxmlformats.org/officeDocument/2006/relationships/image" Target="../media/image16.jpeg"/><Relationship Id="rId29" Type="http://schemas.openxmlformats.org/officeDocument/2006/relationships/image" Target="../media/image25.png"/><Relationship Id="rId1" Type="http://schemas.openxmlformats.org/officeDocument/2006/relationships/vmlDrawing" Target="../drawings/vmlDrawing8.vml"/><Relationship Id="rId6" Type="http://schemas.openxmlformats.org/officeDocument/2006/relationships/tags" Target="../tags/tag34.xml"/><Relationship Id="rId11" Type="http://schemas.openxmlformats.org/officeDocument/2006/relationships/tags" Target="../tags/tag39.xml"/><Relationship Id="rId24" Type="http://schemas.openxmlformats.org/officeDocument/2006/relationships/image" Target="../media/image20.png"/><Relationship Id="rId32" Type="http://schemas.openxmlformats.org/officeDocument/2006/relationships/image" Target="../media/image27.png"/><Relationship Id="rId5" Type="http://schemas.openxmlformats.org/officeDocument/2006/relationships/tags" Target="../tags/tag33.xml"/><Relationship Id="rId15" Type="http://schemas.openxmlformats.org/officeDocument/2006/relationships/tags" Target="../tags/tag43.xml"/><Relationship Id="rId23" Type="http://schemas.openxmlformats.org/officeDocument/2006/relationships/image" Target="../media/image19.png"/><Relationship Id="rId28" Type="http://schemas.openxmlformats.org/officeDocument/2006/relationships/image" Target="../media/image24.jpeg"/><Relationship Id="rId10" Type="http://schemas.openxmlformats.org/officeDocument/2006/relationships/tags" Target="../tags/tag38.xml"/><Relationship Id="rId19" Type="http://schemas.openxmlformats.org/officeDocument/2006/relationships/image" Target="../media/image15.png"/><Relationship Id="rId31" Type="http://schemas.openxmlformats.org/officeDocument/2006/relationships/image" Target="../media/image26.png"/><Relationship Id="rId4" Type="http://schemas.openxmlformats.org/officeDocument/2006/relationships/tags" Target="../tags/tag32.xml"/><Relationship Id="rId9" Type="http://schemas.openxmlformats.org/officeDocument/2006/relationships/tags" Target="../tags/tag37.xml"/><Relationship Id="rId14" Type="http://schemas.openxmlformats.org/officeDocument/2006/relationships/tags" Target="../tags/tag42.xml"/><Relationship Id="rId22" Type="http://schemas.openxmlformats.org/officeDocument/2006/relationships/image" Target="../media/image18.png"/><Relationship Id="rId27" Type="http://schemas.openxmlformats.org/officeDocument/2006/relationships/image" Target="../media/image23.png"/><Relationship Id="rId30" Type="http://schemas.microsoft.com/office/2007/relationships/hdphoto" Target="../media/hdphoto2.wdp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ackgroundRemoval t="2065" b="89673" l="0" r="98285">
                        <a14:foregroundMark x1="41166" y1="17040" x2="41166" y2="17040"/>
                        <a14:foregroundMark x1="30017" y1="65749" x2="30017" y2="65749"/>
                        <a14:foregroundMark x1="36535" y1="49398" x2="36535" y2="49398"/>
                        <a14:foregroundMark x1="55575" y1="32358" x2="55575" y2="32358"/>
                        <a14:foregroundMark x1="67753" y1="50775" x2="67753" y2="50775"/>
                        <a14:foregroundMark x1="75472" y1="50775" x2="75472" y2="50775"/>
                        <a14:foregroundMark x1="82676" y1="45783" x2="82676" y2="45783"/>
                        <a14:backgroundMark x1="77530" y1="79518" x2="77530" y2="79518"/>
                      </a14:backgroundRemoval>
                    </a14:imgEffect>
                    <a14:imgEffect>
                      <a14:artisticCrisscrossEtching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4778" y="188640"/>
            <a:ext cx="3107002" cy="30963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 descr="C:\Users\yemade\Documents\Intermediate Care\Intermediate Care Development Session\IC photo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12885" y="2460109"/>
            <a:ext cx="2347739" cy="2284287"/>
          </a:xfrm>
          <a:prstGeom prst="rect">
            <a:avLst/>
          </a:prstGeom>
          <a:noFill/>
          <a:ln w="76200">
            <a:solidFill>
              <a:schemeClr val="bg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2915816" y="908720"/>
            <a:ext cx="5760640" cy="1591440"/>
          </a:xfrm>
        </p:spPr>
        <p:txBody>
          <a:bodyPr>
            <a:noAutofit/>
          </a:bodyPr>
          <a:lstStyle/>
          <a:p>
            <a:pPr algn="r"/>
            <a:r>
              <a:rPr lang="en-GB" sz="2200" dirty="0" smtClean="0">
                <a:solidFill>
                  <a:schemeClr val="tx2">
                    <a:lumMod val="50000"/>
                  </a:schemeClr>
                </a:solidFill>
              </a:rPr>
              <a:t>Whole </a:t>
            </a:r>
            <a:r>
              <a:rPr lang="en-GB" sz="2200" dirty="0">
                <a:solidFill>
                  <a:schemeClr val="tx2">
                    <a:lumMod val="50000"/>
                  </a:schemeClr>
                </a:solidFill>
              </a:rPr>
              <a:t>Systems Integrated </a:t>
            </a:r>
            <a:r>
              <a:rPr lang="en-GB" sz="2200" dirty="0" smtClean="0">
                <a:solidFill>
                  <a:schemeClr val="tx2">
                    <a:lumMod val="50000"/>
                  </a:schemeClr>
                </a:solidFill>
              </a:rPr>
              <a:t>Care</a:t>
            </a:r>
            <a:br>
              <a:rPr lang="en-GB" sz="2200" dirty="0" smtClean="0">
                <a:solidFill>
                  <a:schemeClr val="tx2">
                    <a:lumMod val="50000"/>
                  </a:schemeClr>
                </a:solidFill>
              </a:rPr>
            </a:br>
            <a:r>
              <a:rPr lang="en-GB" sz="2200" b="1" i="1" u="sng" dirty="0" smtClean="0">
                <a:solidFill>
                  <a:srgbClr val="FF0000"/>
                </a:solidFill>
              </a:rPr>
              <a:t>Earls Court &amp; Chelsea Forum</a:t>
            </a:r>
            <a:br>
              <a:rPr lang="en-GB" sz="2200" b="1" i="1" u="sng" dirty="0" smtClean="0">
                <a:solidFill>
                  <a:srgbClr val="FF0000"/>
                </a:solidFill>
              </a:rPr>
            </a:br>
            <a:r>
              <a:rPr lang="en-GB" sz="2200" b="1" i="1" u="sng" dirty="0" smtClean="0">
                <a:solidFill>
                  <a:srgbClr val="FF0000"/>
                </a:solidFill>
              </a:rPr>
              <a:t>23</a:t>
            </a:r>
            <a:r>
              <a:rPr lang="en-GB" sz="2200" b="1" i="1" u="sng" baseline="30000" dirty="0" smtClean="0">
                <a:solidFill>
                  <a:srgbClr val="FF0000"/>
                </a:solidFill>
              </a:rPr>
              <a:t>rd</a:t>
            </a:r>
            <a:r>
              <a:rPr lang="en-GB" sz="2200" b="1" i="1" u="sng" dirty="0" smtClean="0">
                <a:solidFill>
                  <a:srgbClr val="FF0000"/>
                </a:solidFill>
              </a:rPr>
              <a:t> October 2014</a:t>
            </a:r>
            <a:endParaRPr lang="en-GB" sz="220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3851920" y="5915604"/>
            <a:ext cx="482453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algn="r"/>
            <a:r>
              <a:rPr lang="en-GB" altLang="ja-JP" b="1" dirty="0" smtClean="0">
                <a:solidFill>
                  <a:srgbClr val="1F497D">
                    <a:lumMod val="50000"/>
                  </a:srgbClr>
                </a:solidFill>
              </a:rPr>
              <a:t>COMPREHENSIVE &amp; COMPASSIONATE CARE</a:t>
            </a:r>
            <a:endParaRPr lang="en-GB" b="1" dirty="0">
              <a:solidFill>
                <a:srgbClr val="1F497D">
                  <a:lumMod val="50000"/>
                </a:srgbClr>
              </a:solidFill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23528" y="3077004"/>
            <a:ext cx="3678434" cy="34722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Subtitle 2"/>
          <p:cNvSpPr txBox="1">
            <a:spLocks/>
          </p:cNvSpPr>
          <p:nvPr/>
        </p:nvSpPr>
        <p:spPr>
          <a:xfrm>
            <a:off x="5240539" y="4907492"/>
            <a:ext cx="3416073" cy="10081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algn="r"/>
            <a:r>
              <a:rPr lang="en-GB" sz="1800" i="1" dirty="0" smtClean="0">
                <a:solidFill>
                  <a:srgbClr val="1F497D">
                    <a:lumMod val="50000"/>
                  </a:srgbClr>
                </a:solidFill>
              </a:rPr>
              <a:t>“I want my care to be coordinated and not to feel afraid”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453E6A-9CF9-4519-ADFA-9BE2A926ADC6}" type="slidenum">
              <a:rPr lang="en-GB" b="1" smtClean="0">
                <a:solidFill>
                  <a:prstClr val="white"/>
                </a:solidFill>
              </a:rPr>
              <a:pPr/>
              <a:t>1</a:t>
            </a:fld>
            <a:endParaRPr lang="en-GB" b="1" dirty="0">
              <a:solidFill>
                <a:prstClr val="white"/>
              </a:solidFill>
            </a:endParaRPr>
          </a:p>
        </p:txBody>
      </p:sp>
      <p:sp>
        <p:nvSpPr>
          <p:cNvPr id="3" name="Flowchart: Connector 2"/>
          <p:cNvSpPr/>
          <p:nvPr/>
        </p:nvSpPr>
        <p:spPr>
          <a:xfrm rot="2263660">
            <a:off x="2456820" y="1574572"/>
            <a:ext cx="792088" cy="594066"/>
          </a:xfrm>
          <a:prstGeom prst="flowChartConnector">
            <a:avLst/>
          </a:prstGeom>
          <a:noFill/>
          <a:ln w="38100"/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prstClr val="white"/>
              </a:solidFill>
            </a:endParaRPr>
          </a:p>
        </p:txBody>
      </p:sp>
      <p:pic>
        <p:nvPicPr>
          <p:cNvPr id="11" name="Picture 10" descr="West London CCG col.jpg"/>
          <p:cNvPicPr/>
          <p:nvPr/>
        </p:nvPicPr>
        <p:blipFill>
          <a:blip r:embed="rId7"/>
          <a:stretch>
            <a:fillRect/>
          </a:stretch>
        </p:blipFill>
        <p:spPr>
          <a:xfrm>
            <a:off x="6084168" y="248228"/>
            <a:ext cx="2655642" cy="695011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115616" y="3212976"/>
            <a:ext cx="1872208" cy="28803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906829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hole Systems</a:t>
            </a:r>
            <a:endParaRPr lang="en-GB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67544" y="1291982"/>
            <a:ext cx="8208912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man Lamb, Health Minister, set an ambition to the  whole system integrated by 2017. This includes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P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mmunity car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ospital and outpatient servic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Mental Servic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ocial car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Break the ‘rules’, be creative and have the difficult conversations</a:t>
            </a:r>
            <a:endParaRPr lang="en-GB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14 Whole Systems Pioneers were appointed national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th West London (NWL) bid to be and were appointed as a Whole System Pione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>
                    <a:lumMod val="65000"/>
                    <a:lumOff val="35000"/>
                  </a:schemeClr>
                </a:solidFill>
              </a:rPr>
              <a:t>W</a:t>
            </a: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ithin NWL there are 10 pilo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est London CCG is one of those 10 pilots</a:t>
            </a:r>
            <a:endParaRPr lang="en-GB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4" name="Picture 3" descr="West London CCG col.jpg"/>
          <p:cNvPicPr/>
          <p:nvPr/>
        </p:nvPicPr>
        <p:blipFill>
          <a:blip r:embed="rId2"/>
          <a:stretch>
            <a:fillRect/>
          </a:stretch>
        </p:blipFill>
        <p:spPr>
          <a:xfrm>
            <a:off x="6084168" y="248228"/>
            <a:ext cx="2655642" cy="695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80916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40831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2"/>
          <p:cNvSpPr>
            <a:spLocks noChangeArrowheads="1"/>
          </p:cNvSpPr>
          <p:nvPr/>
        </p:nvSpPr>
        <p:spPr bwMode="gray">
          <a:xfrm>
            <a:off x="274707" y="908721"/>
            <a:ext cx="8689191" cy="318228"/>
          </a:xfrm>
          <a:prstGeom prst="rect">
            <a:avLst/>
          </a:prstGeom>
          <a:solidFill>
            <a:schemeClr val="accent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73471" tIns="73471" rIns="73471" bIns="73471" numCol="1" anchor="ctr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2" name="Rectangle 286"/>
          <p:cNvSpPr txBox="1">
            <a:spLocks noChangeArrowheads="1"/>
          </p:cNvSpPr>
          <p:nvPr/>
        </p:nvSpPr>
        <p:spPr bwMode="auto">
          <a:xfrm>
            <a:off x="440737" y="936016"/>
            <a:ext cx="8518940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GB" b="1" dirty="0" smtClean="0">
                <a:solidFill>
                  <a:schemeClr val="bg1"/>
                </a:solidFill>
              </a:rPr>
              <a:t>Core underlying principles on which there is broad alignment</a:t>
            </a:r>
            <a:endParaRPr lang="en-GB" b="1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4707" y="274638"/>
            <a:ext cx="8689780" cy="634082"/>
          </a:xfrm>
        </p:spPr>
        <p:txBody>
          <a:bodyPr>
            <a:noAutofit/>
          </a:bodyPr>
          <a:lstStyle/>
          <a:p>
            <a:pPr algn="l"/>
            <a:r>
              <a:rPr lang="en-GB" sz="2200" b="1" dirty="0" smtClean="0"/>
              <a:t>The West London Whole Systems vision is based on a number of core agreed principles</a:t>
            </a:r>
            <a:endParaRPr lang="en-GB" sz="2200" b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3</a:t>
            </a:fld>
            <a:endParaRPr lang="en-GB" dirty="0"/>
          </a:p>
        </p:txBody>
      </p:sp>
      <p:sp>
        <p:nvSpPr>
          <p:cNvPr id="7" name="Rectangle 10"/>
          <p:cNvSpPr>
            <a:spLocks noChangeArrowheads="1"/>
          </p:cNvSpPr>
          <p:nvPr/>
        </p:nvSpPr>
        <p:spPr bwMode="gray">
          <a:xfrm>
            <a:off x="251520" y="908720"/>
            <a:ext cx="8712967" cy="5472608"/>
          </a:xfrm>
          <a:prstGeom prst="rect">
            <a:avLst/>
          </a:prstGeom>
          <a:noFill/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none" lIns="93296" tIns="46648" rIns="93296" bIns="46648" numCol="1" anchor="ctr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14" name="Rectangle 286"/>
          <p:cNvSpPr txBox="1">
            <a:spLocks noChangeArrowheads="1"/>
          </p:cNvSpPr>
          <p:nvPr/>
        </p:nvSpPr>
        <p:spPr bwMode="auto">
          <a:xfrm>
            <a:off x="294991" y="1287626"/>
            <a:ext cx="8636537" cy="49167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>
                <a:solidFill>
                  <a:schemeClr val="tx1"/>
                </a:solidFill>
                <a:latin typeface="+mn-lt"/>
              </a:defRPr>
            </a:lvl4pPr>
            <a:lvl5pPr marL="746125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spcBef>
                <a:spcPts val="900"/>
              </a:spcBef>
            </a:pPr>
            <a:r>
              <a:rPr lang="en-GB" dirty="0" smtClean="0"/>
              <a:t>The </a:t>
            </a:r>
            <a:r>
              <a:rPr lang="en-GB" dirty="0"/>
              <a:t>patients covered will include all </a:t>
            </a:r>
            <a:r>
              <a:rPr lang="en-GB" b="1" dirty="0"/>
              <a:t>above 75s </a:t>
            </a:r>
            <a:r>
              <a:rPr lang="en-GB" dirty="0"/>
              <a:t>registered with practices that are part of </a:t>
            </a:r>
            <a:r>
              <a:rPr lang="en-GB" dirty="0" err="1"/>
              <a:t>WLCCG</a:t>
            </a:r>
            <a:endParaRPr lang="en-GB" dirty="0"/>
          </a:p>
          <a:p>
            <a:pPr lvl="1">
              <a:spcBef>
                <a:spcPts val="900"/>
              </a:spcBef>
            </a:pPr>
            <a:r>
              <a:rPr lang="en-GB" dirty="0" smtClean="0"/>
              <a:t>The model of care should cover </a:t>
            </a:r>
            <a:r>
              <a:rPr lang="en-GB" b="1" dirty="0" smtClean="0"/>
              <a:t>their integrated health and social care needs  </a:t>
            </a:r>
            <a:r>
              <a:rPr lang="en-GB" dirty="0" smtClean="0"/>
              <a:t>and all medical conditions and all types of services – proactive, reactive, acute, mental health etc.</a:t>
            </a:r>
          </a:p>
          <a:p>
            <a:pPr lvl="1">
              <a:spcBef>
                <a:spcPts val="900"/>
              </a:spcBef>
            </a:pPr>
            <a:r>
              <a:rPr lang="en-GB" dirty="0" smtClean="0"/>
              <a:t>The </a:t>
            </a:r>
            <a:r>
              <a:rPr lang="en-GB" dirty="0"/>
              <a:t>model of care </a:t>
            </a:r>
            <a:r>
              <a:rPr lang="en-GB" dirty="0" smtClean="0"/>
              <a:t>would have  the </a:t>
            </a:r>
            <a:r>
              <a:rPr lang="en-GB" b="1" dirty="0" smtClean="0"/>
              <a:t>patient at the centre</a:t>
            </a:r>
            <a:r>
              <a:rPr lang="en-GB" dirty="0" smtClean="0"/>
              <a:t>, with </a:t>
            </a:r>
            <a:r>
              <a:rPr lang="en-GB" b="1" dirty="0" smtClean="0"/>
              <a:t>empowering</a:t>
            </a:r>
            <a:r>
              <a:rPr lang="en-GB" dirty="0" smtClean="0"/>
              <a:t> them and their carers for </a:t>
            </a:r>
            <a:r>
              <a:rPr lang="en-GB" b="1" dirty="0" smtClean="0"/>
              <a:t>self-care and self-management</a:t>
            </a:r>
            <a:r>
              <a:rPr lang="en-GB" dirty="0" smtClean="0"/>
              <a:t> being a critical component</a:t>
            </a:r>
          </a:p>
          <a:p>
            <a:pPr lvl="1">
              <a:spcBef>
                <a:spcPts val="900"/>
              </a:spcBef>
            </a:pPr>
            <a:r>
              <a:rPr lang="en-GB" dirty="0"/>
              <a:t>Care will primarily be </a:t>
            </a:r>
            <a:r>
              <a:rPr lang="en-GB" b="1" dirty="0" smtClean="0"/>
              <a:t>community based</a:t>
            </a:r>
            <a:r>
              <a:rPr lang="en-GB" dirty="0" smtClean="0"/>
              <a:t>,  </a:t>
            </a:r>
            <a:r>
              <a:rPr lang="en-GB" dirty="0"/>
              <a:t>with </a:t>
            </a:r>
            <a:r>
              <a:rPr lang="en-GB" b="1" dirty="0"/>
              <a:t>Primary Care </a:t>
            </a:r>
            <a:r>
              <a:rPr lang="en-GB" b="1" dirty="0" smtClean="0"/>
              <a:t>leading</a:t>
            </a:r>
            <a:r>
              <a:rPr lang="en-GB" dirty="0" smtClean="0"/>
              <a:t> and provided through </a:t>
            </a:r>
            <a:r>
              <a:rPr lang="en-GB" b="1" dirty="0" smtClean="0"/>
              <a:t>integrated multi-disciplinary teams</a:t>
            </a:r>
            <a:r>
              <a:rPr lang="en-GB" dirty="0" smtClean="0"/>
              <a:t> working together, and following a </a:t>
            </a:r>
            <a:r>
              <a:rPr lang="en-GB" b="1" dirty="0" smtClean="0"/>
              <a:t>planned approach </a:t>
            </a:r>
            <a:r>
              <a:rPr lang="en-GB" dirty="0" smtClean="0"/>
              <a:t>to care</a:t>
            </a:r>
            <a:endParaRPr lang="en-GB" dirty="0"/>
          </a:p>
          <a:p>
            <a:pPr lvl="1">
              <a:spcBef>
                <a:spcPts val="900"/>
              </a:spcBef>
            </a:pPr>
            <a:r>
              <a:rPr lang="en-GB" dirty="0" smtClean="0"/>
              <a:t>The objective of the model is  to make a </a:t>
            </a:r>
            <a:r>
              <a:rPr lang="en-GB" b="1" dirty="0" smtClean="0"/>
              <a:t>material difference in care outcomes, quality</a:t>
            </a:r>
            <a:r>
              <a:rPr lang="en-GB" dirty="0" smtClean="0"/>
              <a:t> and </a:t>
            </a:r>
            <a:r>
              <a:rPr lang="en-GB" b="1" dirty="0" smtClean="0"/>
              <a:t>experience</a:t>
            </a:r>
            <a:r>
              <a:rPr lang="en-GB" dirty="0" smtClean="0"/>
              <a:t> for 75+ - specifically to</a:t>
            </a:r>
          </a:p>
          <a:p>
            <a:pPr lvl="2">
              <a:spcBef>
                <a:spcPts val="300"/>
              </a:spcBef>
            </a:pPr>
            <a:r>
              <a:rPr lang="en-GB" dirty="0" smtClean="0"/>
              <a:t>Provide </a:t>
            </a:r>
            <a:r>
              <a:rPr lang="en-GB" b="1" dirty="0" smtClean="0"/>
              <a:t>24x7 access</a:t>
            </a:r>
            <a:r>
              <a:rPr lang="en-GB" dirty="0" smtClean="0"/>
              <a:t> to primary care led clinical decision making support</a:t>
            </a:r>
          </a:p>
          <a:p>
            <a:pPr lvl="2">
              <a:spcBef>
                <a:spcPts val="300"/>
              </a:spcBef>
            </a:pPr>
            <a:r>
              <a:rPr lang="en-GB" dirty="0" smtClean="0"/>
              <a:t>Provide easy to use </a:t>
            </a:r>
            <a:r>
              <a:rPr lang="en-GB" b="1" dirty="0" smtClean="0"/>
              <a:t>single point of access and coordination</a:t>
            </a:r>
            <a:r>
              <a:rPr lang="en-GB" dirty="0" smtClean="0"/>
              <a:t> for wider services in  the community including step up and step down from acute</a:t>
            </a:r>
          </a:p>
          <a:p>
            <a:pPr lvl="2">
              <a:spcBef>
                <a:spcPts val="300"/>
              </a:spcBef>
            </a:pPr>
            <a:r>
              <a:rPr lang="en-GB" dirty="0" smtClean="0"/>
              <a:t>Easier and wider </a:t>
            </a:r>
            <a:r>
              <a:rPr lang="en-GB" b="1" dirty="0" smtClean="0"/>
              <a:t>access to diagnostics</a:t>
            </a:r>
            <a:r>
              <a:rPr lang="en-GB" dirty="0" smtClean="0"/>
              <a:t> and other support services in the community</a:t>
            </a:r>
          </a:p>
          <a:p>
            <a:pPr lvl="2">
              <a:spcBef>
                <a:spcPts val="300"/>
              </a:spcBef>
            </a:pPr>
            <a:r>
              <a:rPr lang="en-GB" dirty="0" smtClean="0"/>
              <a:t>Ultimately make them </a:t>
            </a:r>
            <a:r>
              <a:rPr lang="en-GB" b="1" dirty="0" smtClean="0"/>
              <a:t>feel safe </a:t>
            </a:r>
            <a:r>
              <a:rPr lang="en-GB" dirty="0" smtClean="0"/>
              <a:t>and their </a:t>
            </a:r>
            <a:r>
              <a:rPr lang="en-GB" b="1" dirty="0" smtClean="0"/>
              <a:t>care feel more coordinated</a:t>
            </a:r>
          </a:p>
          <a:p>
            <a:pPr lvl="1">
              <a:spcBef>
                <a:spcPts val="900"/>
              </a:spcBef>
            </a:pPr>
            <a:r>
              <a:rPr lang="en-GB" dirty="0" smtClean="0"/>
              <a:t>The </a:t>
            </a:r>
            <a:r>
              <a:rPr lang="en-GB" b="1" dirty="0" smtClean="0"/>
              <a:t>transition </a:t>
            </a:r>
            <a:r>
              <a:rPr lang="en-GB" dirty="0" smtClean="0"/>
              <a:t>from the current care model to the new should have </a:t>
            </a:r>
            <a:r>
              <a:rPr lang="en-GB" b="1" dirty="0" smtClean="0"/>
              <a:t>broad support </a:t>
            </a:r>
            <a:r>
              <a:rPr lang="en-GB" dirty="0" smtClean="0"/>
              <a:t>from  all concerned providers and be planned to take into account the </a:t>
            </a:r>
            <a:r>
              <a:rPr lang="en-GB" b="1" dirty="0" smtClean="0"/>
              <a:t>implications for staff , systems, funding flows</a:t>
            </a:r>
            <a:r>
              <a:rPr lang="en-GB" dirty="0" smtClean="0"/>
              <a:t> and various </a:t>
            </a:r>
            <a:r>
              <a:rPr lang="en-GB" b="1" dirty="0" smtClean="0"/>
              <a:t>existing schemes</a:t>
            </a:r>
            <a:r>
              <a:rPr lang="en-GB" dirty="0" smtClean="0"/>
              <a:t> such as PPF, </a:t>
            </a:r>
            <a:r>
              <a:rPr lang="en-GB" dirty="0" err="1" smtClean="0"/>
              <a:t>BCF</a:t>
            </a:r>
            <a:r>
              <a:rPr lang="en-GB" dirty="0" smtClean="0"/>
              <a:t>, CIS etc.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026028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://h.fastcompany.net/multisite_files/codesign/imagecache/1280/poster/2012/12/1671372-poster-1280-5-tips-for-forging-a-lasting-creative-partnership.jpg"/>
          <p:cNvPicPr>
            <a:picLocks noChangeAspect="1" noChangeArrowheads="1"/>
          </p:cNvPicPr>
          <p:nvPr/>
        </p:nvPicPr>
        <p:blipFill>
          <a:blip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530" y="1807691"/>
            <a:ext cx="8386939" cy="47176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7504" y="-27384"/>
            <a:ext cx="8229600" cy="1143000"/>
          </a:xfrm>
        </p:spPr>
        <p:txBody>
          <a:bodyPr>
            <a:normAutofit/>
          </a:bodyPr>
          <a:lstStyle/>
          <a:p>
            <a:pPr algn="l"/>
            <a:r>
              <a:rPr lang="en-GB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We are committed to co-design </a:t>
            </a:r>
            <a:br>
              <a:rPr lang="en-GB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</a:br>
            <a:r>
              <a:rPr lang="en-GB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nd have already listened</a:t>
            </a:r>
            <a:endParaRPr lang="en-GB" sz="3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pic>
        <p:nvPicPr>
          <p:cNvPr id="7" name="Picture 6" descr="West London CCG col.jpg"/>
          <p:cNvPicPr/>
          <p:nvPr/>
        </p:nvPicPr>
        <p:blipFill>
          <a:blip r:embed="rId4"/>
          <a:stretch>
            <a:fillRect/>
          </a:stretch>
        </p:blipFill>
        <p:spPr>
          <a:xfrm>
            <a:off x="6084168" y="260648"/>
            <a:ext cx="2655642" cy="695011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5652120" y="3438326"/>
            <a:ext cx="1296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/>
              <a:t>Better care planning!</a:t>
            </a:r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1979712" y="3942382"/>
            <a:ext cx="1296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/>
              <a:t>Sharing of information</a:t>
            </a:r>
            <a:endParaRPr lang="en-GB" dirty="0"/>
          </a:p>
        </p:txBody>
      </p:sp>
      <p:sp>
        <p:nvSpPr>
          <p:cNvPr id="9" name="TextBox 8"/>
          <p:cNvSpPr txBox="1"/>
          <p:nvPr/>
        </p:nvSpPr>
        <p:spPr>
          <a:xfrm>
            <a:off x="3635896" y="3510334"/>
            <a:ext cx="15121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Longer </a:t>
            </a:r>
            <a:br>
              <a:rPr lang="en-GB" dirty="0" smtClean="0">
                <a:solidFill>
                  <a:schemeClr val="bg1"/>
                </a:solidFill>
              </a:rPr>
            </a:br>
            <a:r>
              <a:rPr lang="en-GB" dirty="0" smtClean="0">
                <a:solidFill>
                  <a:schemeClr val="bg1"/>
                </a:solidFill>
              </a:rPr>
              <a:t>GP appointment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198076" y="2359947"/>
            <a:ext cx="15121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Co-location of services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7411988" y="5166518"/>
            <a:ext cx="1552499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Services </a:t>
            </a:r>
            <a:r>
              <a:rPr lang="en-US" dirty="0"/>
              <a:t>provided at / close to home</a:t>
            </a:r>
            <a:endParaRPr lang="en-GB" dirty="0"/>
          </a:p>
        </p:txBody>
      </p:sp>
      <p:sp>
        <p:nvSpPr>
          <p:cNvPr id="11" name="TextBox 10"/>
          <p:cNvSpPr txBox="1"/>
          <p:nvPr/>
        </p:nvSpPr>
        <p:spPr>
          <a:xfrm>
            <a:off x="5777349" y="5166518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1"/>
                </a:solidFill>
              </a:rPr>
              <a:t>Listened to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454240" y="1206078"/>
            <a:ext cx="155249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 smtClean="0"/>
              <a:t>Smooth transfer between services</a:t>
            </a:r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710595" y="5229234"/>
            <a:ext cx="129614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dirty="0" smtClean="0">
                <a:solidFill>
                  <a:schemeClr val="bg1"/>
                </a:solidFill>
              </a:rPr>
              <a:t>Calm</a:t>
            </a:r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6876256" y="2339622"/>
            <a:ext cx="144016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1400" dirty="0">
                <a:solidFill>
                  <a:schemeClr val="bg1"/>
                </a:solidFill>
              </a:rPr>
              <a:t>Support patients to </a:t>
            </a:r>
            <a:r>
              <a:rPr lang="en-US" sz="1400" dirty="0" err="1">
                <a:solidFill>
                  <a:schemeClr val="bg1"/>
                </a:solidFill>
              </a:rPr>
              <a:t>maximise</a:t>
            </a:r>
            <a:r>
              <a:rPr lang="en-US" sz="1400" dirty="0">
                <a:solidFill>
                  <a:schemeClr val="bg1"/>
                </a:solidFill>
              </a:rPr>
              <a:t> their own health</a:t>
            </a:r>
            <a:endParaRPr lang="en-GB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1561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04532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298" name="think-cell Slide" r:id="rId17" imgW="493" imgH="493" progId="TCLayout.ActiveDocument.1">
                  <p:embed/>
                </p:oleObj>
              </mc:Choice>
              <mc:Fallback>
                <p:oleObj name="think-cell Slide" r:id="rId17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0" name="Group 99"/>
          <p:cNvGrpSpPr/>
          <p:nvPr/>
        </p:nvGrpSpPr>
        <p:grpSpPr>
          <a:xfrm>
            <a:off x="144015" y="836712"/>
            <a:ext cx="8820473" cy="5472608"/>
            <a:chOff x="526447" y="1677680"/>
            <a:chExt cx="3932973" cy="4766175"/>
          </a:xfrm>
        </p:grpSpPr>
        <p:sp>
          <p:nvSpPr>
            <p:cNvPr id="101" name="Rectangle 286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526447" y="1677680"/>
              <a:ext cx="3932973" cy="476617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accent6"/>
              </a:solidFill>
            </a:ln>
            <a:effectLst/>
            <a:extLst/>
          </p:spPr>
          <p:txBody>
            <a:bodyPr lIns="74637" tIns="74637" rIns="74637" bIns="74637"/>
            <a:lstStyle>
              <a:defPPr>
                <a:defRPr lang="en-US"/>
              </a:defPPr>
              <a:lvl1pPr marL="0" indent="0" defTabSz="895350" eaLnBrk="1" hangingPunct="1">
                <a:buClr>
                  <a:schemeClr val="tx2"/>
                </a:buClr>
                <a:defRPr>
                  <a:latin typeface="+mn-lt"/>
                  <a:cs typeface="+mn-cs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  <a:cs typeface="+mn-cs"/>
                </a:defRPr>
              </a:lvl2pPr>
              <a:lvl3pPr marL="457200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>
                <a:buClr>
                  <a:srgbClr val="1F497D"/>
                </a:buClr>
              </a:pPr>
              <a:endParaRPr lang="en-US" dirty="0">
                <a:solidFill>
                  <a:prstClr val="black"/>
                </a:solidFill>
              </a:endParaRPr>
            </a:p>
          </p:txBody>
        </p:sp>
        <p:sp>
          <p:nvSpPr>
            <p:cNvPr id="102" name="Rectangle 2"/>
            <p:cNvSpPr txBox="1"/>
            <p:nvPr/>
          </p:nvSpPr>
          <p:spPr>
            <a:xfrm>
              <a:off x="627814" y="2280847"/>
              <a:ext cx="3730243" cy="276999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>
                  <a:latin typeface="+mn-lt"/>
                </a:defRPr>
              </a:lvl4pPr>
              <a:lvl5pPr marL="746125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>
                  <a:latin typeface="+mn-lt"/>
                </a:defRPr>
              </a:lvl9pPr>
            </a:lstStyle>
            <a:p>
              <a:pPr lvl="1">
                <a:buClr>
                  <a:srgbClr val="1F497D"/>
                </a:buClr>
              </a:pPr>
              <a:endParaRPr lang="en-US" dirty="0">
                <a:solidFill>
                  <a:prstClr val="black"/>
                </a:solidFill>
              </a:endParaRPr>
            </a:p>
          </p:txBody>
        </p:sp>
      </p:grpSp>
      <p:grpSp>
        <p:nvGrpSpPr>
          <p:cNvPr id="109" name="Group 108"/>
          <p:cNvGrpSpPr/>
          <p:nvPr/>
        </p:nvGrpSpPr>
        <p:grpSpPr>
          <a:xfrm>
            <a:off x="251520" y="1600198"/>
            <a:ext cx="2386608" cy="2995230"/>
            <a:chOff x="251520" y="1600198"/>
            <a:chExt cx="2386608" cy="2995230"/>
          </a:xfrm>
        </p:grpSpPr>
        <p:sp>
          <p:nvSpPr>
            <p:cNvPr id="12" name="TextBox 6"/>
            <p:cNvSpPr txBox="1"/>
            <p:nvPr>
              <p:custDataLst>
                <p:tags r:id="rId12"/>
              </p:custDataLst>
            </p:nvPr>
          </p:nvSpPr>
          <p:spPr>
            <a:xfrm>
              <a:off x="467544" y="1830523"/>
              <a:ext cx="2170584" cy="276490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endParaRPr lang="en-GB" dirty="0"/>
            </a:p>
          </p:txBody>
        </p:sp>
        <p:sp>
          <p:nvSpPr>
            <p:cNvPr id="13" name="TextBox 6"/>
            <p:cNvSpPr txBox="1"/>
            <p:nvPr>
              <p:custDataLst>
                <p:tags r:id="rId13"/>
              </p:custDataLst>
            </p:nvPr>
          </p:nvSpPr>
          <p:spPr>
            <a:xfrm>
              <a:off x="359532" y="1715361"/>
              <a:ext cx="2170584" cy="276490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endParaRPr lang="en-GB" dirty="0"/>
            </a:p>
          </p:txBody>
        </p:sp>
        <p:sp>
          <p:nvSpPr>
            <p:cNvPr id="4" name="TextBox 6"/>
            <p:cNvSpPr txBox="1"/>
            <p:nvPr>
              <p:custDataLst>
                <p:tags r:id="rId14"/>
              </p:custDataLst>
            </p:nvPr>
          </p:nvSpPr>
          <p:spPr>
            <a:xfrm>
              <a:off x="251520" y="1600198"/>
              <a:ext cx="2170584" cy="276490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85000"/>
                </a:schemeClr>
              </a:solidFill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endParaRPr lang="en-GB" dirty="0"/>
            </a:p>
          </p:txBody>
        </p:sp>
      </p:grpSp>
      <p:cxnSp>
        <p:nvCxnSpPr>
          <p:cNvPr id="107" name="Straight Arrow Connector 106"/>
          <p:cNvCxnSpPr/>
          <p:nvPr/>
        </p:nvCxnSpPr>
        <p:spPr>
          <a:xfrm>
            <a:off x="2123728" y="1880858"/>
            <a:ext cx="5212181" cy="0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Box 6"/>
          <p:cNvSpPr txBox="1">
            <a:spLocks/>
          </p:cNvSpPr>
          <p:nvPr>
            <p:custDataLst>
              <p:tags r:id="rId3"/>
            </p:custDataLst>
          </p:nvPr>
        </p:nvSpPr>
        <p:spPr>
          <a:xfrm>
            <a:off x="7290923" y="1600198"/>
            <a:ext cx="1601557" cy="29952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endParaRPr lang="en-GB" dirty="0"/>
          </a:p>
        </p:txBody>
      </p:sp>
      <p:sp>
        <p:nvSpPr>
          <p:cNvPr id="64" name="TextBox 6"/>
          <p:cNvSpPr txBox="1">
            <a:spLocks/>
          </p:cNvSpPr>
          <p:nvPr>
            <p:custDataLst>
              <p:tags r:id="rId4"/>
            </p:custDataLst>
          </p:nvPr>
        </p:nvSpPr>
        <p:spPr>
          <a:xfrm>
            <a:off x="3673143" y="1600198"/>
            <a:ext cx="3203113" cy="299523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  <p:txBody>
          <a:bodyPr vert="horz" lIns="76200" tIns="76200" rIns="76200" bIns="76200" rtlCol="0" anchor="t" anchorCtr="0">
            <a:noAutofit/>
          </a:bodyPr>
          <a:lstStyle>
            <a:lvl1pPr marL="342900" lvl="0" indent="-342900">
              <a:spcBef>
                <a:spcPct val="20000"/>
              </a:spcBef>
              <a:buFont typeface="Arial" panose="020B0604020202020204" pitchFamily="34" charset="0"/>
              <a:buChar char="•"/>
              <a:defRPr sz="3200"/>
            </a:lvl1pPr>
            <a:lvl2pPr marL="742950" lvl="1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/>
            </a:lvl2pPr>
            <a:lvl3pPr marL="1143000" lvl="2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/>
            </a:lvl3pPr>
            <a:lvl4pPr marL="1600200" lvl="3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/>
            </a:lvl4pPr>
            <a:lvl5pPr marL="2057400" lvl="4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/>
            </a:lvl5pPr>
            <a:lvl6pPr marL="25146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000"/>
            </a:lvl9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4015" y="44624"/>
            <a:ext cx="8748465" cy="706090"/>
          </a:xfrm>
        </p:spPr>
        <p:txBody>
          <a:bodyPr>
            <a:noAutofit/>
          </a:bodyPr>
          <a:lstStyle/>
          <a:p>
            <a:pPr algn="l"/>
            <a:r>
              <a:rPr lang="en-US" sz="2200" b="1" dirty="0" smtClean="0"/>
              <a:t>The proposed model of care (so far)…</a:t>
            </a:r>
            <a:endParaRPr lang="en-GB" sz="2200" b="1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553200" y="6448251"/>
            <a:ext cx="2133600" cy="365125"/>
          </a:xfrm>
        </p:spPr>
        <p:txBody>
          <a:bodyPr/>
          <a:lstStyle/>
          <a:p>
            <a:fld id="{0F7FB5E3-6C5D-4837-BFD8-F25BE6938A83}" type="slidenum">
              <a:rPr lang="en-GB" smtClean="0">
                <a:solidFill>
                  <a:prstClr val="black">
                    <a:tint val="75000"/>
                  </a:prstClr>
                </a:solidFill>
              </a:rPr>
              <a:pPr/>
              <a:t>5</a:t>
            </a:fld>
            <a:endParaRPr lang="en-GB" dirty="0">
              <a:solidFill>
                <a:prstClr val="black">
                  <a:tint val="75000"/>
                </a:prstClr>
              </a:solidFill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336637" y="3396474"/>
            <a:ext cx="896835" cy="752606"/>
            <a:chOff x="3379081" y="1177729"/>
            <a:chExt cx="878929" cy="737624"/>
          </a:xfrm>
        </p:grpSpPr>
        <p:pic>
          <p:nvPicPr>
            <p:cNvPr id="17" name="Picture 16"/>
            <p:cNvPicPr>
              <a:picLocks/>
            </p:cNvPicPr>
            <p:nvPr>
              <p:custDataLst>
                <p:tags r:id="rId10"/>
              </p:custDataLst>
            </p:nvPr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gray">
            <a:xfrm>
              <a:off x="3379081" y="1227652"/>
              <a:ext cx="518384" cy="519645"/>
            </a:xfrm>
            <a:prstGeom prst="rect">
              <a:avLst/>
            </a:prstGeom>
          </p:spPr>
        </p:pic>
        <p:pic>
          <p:nvPicPr>
            <p:cNvPr id="18" name="Picture 114" descr="Female avatar"/>
            <p:cNvPicPr>
              <a:picLocks noChangeArrowheads="1"/>
            </p:cNvPicPr>
            <p:nvPr>
              <p:custDataLst>
                <p:tags r:id="rId11"/>
              </p:custDataLst>
            </p:nvPr>
          </p:nvPicPr>
          <p:blipFill>
            <a:blip r:embed="rId20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588720" y="1177729"/>
              <a:ext cx="669290" cy="737624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</p:grpSp>
      <p:pic>
        <p:nvPicPr>
          <p:cNvPr id="58" name="Picture 6"/>
          <p:cNvPicPr>
            <a:picLocks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535630" y="1672122"/>
            <a:ext cx="504056" cy="532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9" name="Picture 8"/>
          <p:cNvPicPr>
            <a:picLocks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535630" y="2255358"/>
            <a:ext cx="504056" cy="532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0" name="Picture 9"/>
          <p:cNvPicPr>
            <a:picLocks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535630" y="2838594"/>
            <a:ext cx="504056" cy="532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" name="Picture 11"/>
          <p:cNvPicPr>
            <a:picLocks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535630" y="3421830"/>
            <a:ext cx="504056" cy="532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2" name="Picture 13"/>
          <p:cNvPicPr>
            <a:picLocks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535630" y="4005064"/>
            <a:ext cx="504056" cy="532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7076" name="Picture 36" descr="C:\Users\RC-Nitin Kashyap\AppData\Local\Microsoft\Windows\INetCache\IE\XKNE2V25\MC900433907[1].png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29549" y="2695766"/>
            <a:ext cx="734339" cy="73433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85000"/>
              </a:schemeClr>
            </a:solidFill>
          </a:ln>
        </p:spPr>
      </p:pic>
      <p:cxnSp>
        <p:nvCxnSpPr>
          <p:cNvPr id="71" name="Elbow Connector 70"/>
          <p:cNvCxnSpPr>
            <a:endCxn id="22" idx="1"/>
          </p:cNvCxnSpPr>
          <p:nvPr/>
        </p:nvCxnSpPr>
        <p:spPr>
          <a:xfrm rot="16200000" flipH="1">
            <a:off x="3450372" y="2822436"/>
            <a:ext cx="1796590" cy="705462"/>
          </a:xfrm>
          <a:prstGeom prst="bentConnector2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Group 8"/>
          <p:cNvGrpSpPr/>
          <p:nvPr/>
        </p:nvGrpSpPr>
        <p:grpSpPr>
          <a:xfrm>
            <a:off x="3897944" y="1772816"/>
            <a:ext cx="2817444" cy="2617924"/>
            <a:chOff x="3347864" y="1600198"/>
            <a:chExt cx="3223507" cy="2995231"/>
          </a:xfrm>
        </p:grpSpPr>
        <p:sp>
          <p:nvSpPr>
            <p:cNvPr id="14" name="TextBox 6"/>
            <p:cNvSpPr txBox="1"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3657547" y="1600198"/>
              <a:ext cx="2913824" cy="70402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9050" cap="flat" cmpd="sng">
              <a:solidFill>
                <a:schemeClr val="bg1"/>
              </a:solidFill>
              <a:prstDash val="solid"/>
              <a:miter lim="800000"/>
              <a:headEnd/>
              <a:tailEnd/>
            </a:ln>
            <a:effectLst/>
          </p:spPr>
          <p:txBody>
            <a:bodyPr/>
            <a:lstStyle>
              <a:defPPr>
                <a:defRPr lang="en-US"/>
              </a:defPPr>
              <a:lvl1pPr fontAlgn="base">
                <a:spcBef>
                  <a:spcPct val="0"/>
                </a:spcBef>
                <a:spcAft>
                  <a:spcPct val="0"/>
                </a:spcAft>
                <a:defRPr sz="1300">
                  <a:solidFill>
                    <a:srgbClr val="000000"/>
                  </a:solidFill>
                </a:defRPr>
              </a:lvl1pPr>
            </a:lstStyle>
            <a:p>
              <a:endParaRPr lang="en-GB" dirty="0"/>
            </a:p>
          </p:txBody>
        </p:sp>
        <p:sp>
          <p:nvSpPr>
            <p:cNvPr id="30" name="TextBox 6"/>
            <p:cNvSpPr txBox="1"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3960697" y="2363933"/>
              <a:ext cx="2610673" cy="704026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endParaRPr lang="en-GB" dirty="0"/>
            </a:p>
          </p:txBody>
        </p:sp>
        <p:sp>
          <p:nvSpPr>
            <p:cNvPr id="31" name="TextBox 6"/>
            <p:cNvSpPr txBox="1">
              <a:spLocks/>
            </p:cNvSpPr>
            <p:nvPr>
              <p:custDataLst>
                <p:tags r:id="rId7"/>
              </p:custDataLst>
            </p:nvPr>
          </p:nvSpPr>
          <p:spPr>
            <a:xfrm>
              <a:off x="4267115" y="3127668"/>
              <a:ext cx="2304256" cy="70402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endParaRPr lang="en-GB" dirty="0"/>
            </a:p>
          </p:txBody>
        </p:sp>
        <p:sp>
          <p:nvSpPr>
            <p:cNvPr id="32" name="TextBox 6"/>
            <p:cNvSpPr txBox="1">
              <a:spLocks/>
            </p:cNvSpPr>
            <p:nvPr>
              <p:custDataLst>
                <p:tags r:id="rId8"/>
              </p:custDataLst>
            </p:nvPr>
          </p:nvSpPr>
          <p:spPr>
            <a:xfrm>
              <a:off x="4576797" y="3891403"/>
              <a:ext cx="1994573" cy="704026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txBody>
            <a:bodyPr vert="horz" lIns="76200" tIns="76200" rIns="76200" bIns="76200" rtlCol="0" anchor="t" anchorCtr="0">
              <a:noAutofit/>
            </a:bodyPr>
            <a:lstStyle>
              <a:lvl1pPr marL="342900" lvl="0" indent="-342900">
                <a:spcBef>
                  <a:spcPct val="20000"/>
                </a:spcBef>
                <a:buFont typeface="Arial" panose="020B0604020202020204" pitchFamily="34" charset="0"/>
                <a:buChar char="•"/>
                <a:defRPr sz="3200"/>
              </a:lvl1pPr>
              <a:lvl2pPr marL="742950" lvl="1" indent="-285750">
                <a:spcBef>
                  <a:spcPct val="20000"/>
                </a:spcBef>
                <a:buFont typeface="Arial" panose="020B0604020202020204" pitchFamily="34" charset="0"/>
                <a:buChar char="–"/>
                <a:defRPr sz="2800"/>
              </a:lvl2pPr>
              <a:lvl3pPr marL="1143000" lvl="2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400"/>
              </a:lvl3pPr>
              <a:lvl4pPr marL="1600200" lvl="3" indent="-228600">
                <a:spcBef>
                  <a:spcPct val="20000"/>
                </a:spcBef>
                <a:buFont typeface="Arial" panose="020B0604020202020204" pitchFamily="34" charset="0"/>
                <a:buChar char="–"/>
                <a:defRPr sz="2000"/>
              </a:lvl4pPr>
              <a:lvl5pPr marL="2057400" lvl="4" indent="-228600">
                <a:spcBef>
                  <a:spcPct val="20000"/>
                </a:spcBef>
                <a:buFont typeface="Arial" panose="020B0604020202020204" pitchFamily="34" charset="0"/>
                <a:buChar char="»"/>
                <a:defRPr sz="2000"/>
              </a:lvl5pPr>
              <a:lvl6pPr marL="25146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6pPr>
              <a:lvl7pPr marL="29718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7pPr>
              <a:lvl8pPr marL="34290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8pPr>
              <a:lvl9pPr marL="3886200" indent="-228600">
                <a:spcBef>
                  <a:spcPct val="20000"/>
                </a:spcBef>
                <a:buFont typeface="Arial" panose="020B0604020202020204" pitchFamily="34" charset="0"/>
                <a:buChar char="•"/>
                <a:defRPr sz="2000"/>
              </a:lvl9pPr>
            </a:lstStyle>
            <a:p>
              <a:endParaRPr lang="en-GB" dirty="0"/>
            </a:p>
          </p:txBody>
        </p:sp>
        <p:pic>
          <p:nvPicPr>
            <p:cNvPr id="19" name="Picture 60" descr="doctor icon"/>
            <p:cNvPicPr>
              <a:picLocks noChangeArrowheads="1"/>
            </p:cNvPicPr>
            <p:nvPr/>
          </p:nvPicPr>
          <p:blipFill>
            <a:blip r:embed="rId2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347864" y="1678139"/>
              <a:ext cx="619366" cy="59873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" name="Picture 133" descr="Businesswoman avatar"/>
            <p:cNvPicPr>
              <a:picLocks noChangeArrowheads="1"/>
            </p:cNvPicPr>
            <p:nvPr/>
          </p:nvPicPr>
          <p:blipFill>
            <a:blip r:embed="rId28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960698" y="3181417"/>
              <a:ext cx="619366" cy="598733"/>
            </a:xfrm>
            <a:prstGeom prst="rect">
              <a:avLst/>
            </a:prstGeom>
            <a:noFill/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21" name="Picture 199" descr="See Similar Images"/>
            <p:cNvPicPr>
              <a:picLocks noChangeArrowheads="1"/>
            </p:cNvPicPr>
            <p:nvPr>
              <p:custDataLst>
                <p:tags r:id="rId9"/>
              </p:custDataLst>
            </p:nvPr>
          </p:nvPicPr>
          <p:blipFill>
            <a:blip r:embed="rId29" cstate="print">
              <a:extLst>
                <a:ext uri="{BEBA8EAE-BF5A-486C-A8C5-ECC9F3942E4B}">
                  <a14:imgProps xmlns:a14="http://schemas.microsoft.com/office/drawing/2010/main">
                    <a14:imgLayer r:embed="rId30">
                      <a14:imgEffect>
                        <a14:backgroundRemoval t="10000" b="90000" l="10000" r="9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3654281" y="2429778"/>
              <a:ext cx="619366" cy="59873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</p:pic>
        <p:pic>
          <p:nvPicPr>
            <p:cNvPr id="22" name="Picture 27" descr="gnurse"/>
            <p:cNvPicPr>
              <a:picLocks noChangeArrowheads="1"/>
            </p:cNvPicPr>
            <p:nvPr/>
          </p:nvPicPr>
          <p:blipFill>
            <a:blip r:embed="rId3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gray">
            <a:xfrm>
              <a:off x="4267115" y="3933056"/>
              <a:ext cx="619366" cy="598733"/>
            </a:xfrm>
            <a:prstGeom prst="rect">
              <a:avLst/>
            </a:prstGeom>
            <a:noFill/>
            <a:ln w="9525">
              <a:noFill/>
              <a:prstDash val="dash"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cxnSp>
        <p:nvCxnSpPr>
          <p:cNvPr id="75" name="Straight Connector 74"/>
          <p:cNvCxnSpPr>
            <a:stCxn id="21" idx="1"/>
          </p:cNvCxnSpPr>
          <p:nvPr/>
        </p:nvCxnSpPr>
        <p:spPr>
          <a:xfrm flipH="1" flipV="1">
            <a:off x="3995936" y="2759549"/>
            <a:ext cx="169826" cy="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>
            <a:stCxn id="20" idx="1"/>
          </p:cNvCxnSpPr>
          <p:nvPr/>
        </p:nvCxnSpPr>
        <p:spPr>
          <a:xfrm flipH="1" flipV="1">
            <a:off x="3995936" y="3415542"/>
            <a:ext cx="437644" cy="964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7080" name="Picture 40" descr="C:\Users\RC-Nitin Kashyap\AppData\Local\Microsoft\Windows\INetCache\IE\XKNE2V25\MC900432620[1].png"/>
          <p:cNvPicPr>
            <a:picLocks noChangeAspect="1" noChangeArrowheads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99650" y="1664078"/>
            <a:ext cx="724078" cy="724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Plus 79"/>
          <p:cNvSpPr/>
          <p:nvPr/>
        </p:nvSpPr>
        <p:spPr>
          <a:xfrm>
            <a:off x="3923928" y="3998157"/>
            <a:ext cx="169826" cy="169826"/>
          </a:xfrm>
          <a:prstGeom prst="mathPlus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9" name="Plus 88"/>
          <p:cNvSpPr/>
          <p:nvPr/>
        </p:nvSpPr>
        <p:spPr>
          <a:xfrm>
            <a:off x="3923928" y="3331592"/>
            <a:ext cx="169826" cy="169826"/>
          </a:xfrm>
          <a:prstGeom prst="mathPlus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0" name="Plus 89"/>
          <p:cNvSpPr/>
          <p:nvPr/>
        </p:nvSpPr>
        <p:spPr>
          <a:xfrm>
            <a:off x="3923928" y="2687490"/>
            <a:ext cx="169826" cy="169826"/>
          </a:xfrm>
          <a:prstGeom prst="mathPlus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cxnSp>
        <p:nvCxnSpPr>
          <p:cNvPr id="83" name="Straight Arrow Connector 82"/>
          <p:cNvCxnSpPr>
            <a:stCxn id="15" idx="3"/>
            <a:endCxn id="87076" idx="1"/>
          </p:cNvCxnSpPr>
          <p:nvPr/>
        </p:nvCxnSpPr>
        <p:spPr>
          <a:xfrm>
            <a:off x="2369896" y="3062936"/>
            <a:ext cx="459653" cy="0"/>
          </a:xfrm>
          <a:prstGeom prst="straightConnector1">
            <a:avLst/>
          </a:prstGeom>
          <a:ln w="381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Elbow Connector 84"/>
          <p:cNvCxnSpPr>
            <a:stCxn id="87076" idx="0"/>
            <a:endCxn id="19" idx="1"/>
          </p:cNvCxnSpPr>
          <p:nvPr/>
        </p:nvCxnSpPr>
        <p:spPr>
          <a:xfrm rot="5400000" flipH="1" flipV="1">
            <a:off x="3250746" y="2048569"/>
            <a:ext cx="593171" cy="701225"/>
          </a:xfrm>
          <a:prstGeom prst="bentConnector2">
            <a:avLst/>
          </a:prstGeom>
          <a:ln w="381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Elbow Connector 96"/>
          <p:cNvCxnSpPr>
            <a:stCxn id="87076" idx="0"/>
            <a:endCxn id="65" idx="0"/>
          </p:cNvCxnSpPr>
          <p:nvPr/>
        </p:nvCxnSpPr>
        <p:spPr>
          <a:xfrm rot="5400000" flipH="1" flipV="1">
            <a:off x="5096426" y="-299509"/>
            <a:ext cx="1095568" cy="4894983"/>
          </a:xfrm>
          <a:prstGeom prst="bentConnector3">
            <a:avLst>
              <a:gd name="adj1" fmla="val 120866"/>
            </a:avLst>
          </a:prstGeom>
          <a:ln w="38100">
            <a:solidFill>
              <a:schemeClr val="accent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Arrow Connector 105"/>
          <p:cNvCxnSpPr/>
          <p:nvPr/>
        </p:nvCxnSpPr>
        <p:spPr>
          <a:xfrm>
            <a:off x="6876256" y="3062936"/>
            <a:ext cx="459653" cy="0"/>
          </a:xfrm>
          <a:prstGeom prst="straightConnector1">
            <a:avLst/>
          </a:prstGeom>
          <a:ln w="38100">
            <a:solidFill>
              <a:schemeClr val="accent2"/>
            </a:solidFill>
            <a:headEnd type="triangl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Straight Arrow Connector 112"/>
          <p:cNvCxnSpPr>
            <a:endCxn id="87080" idx="1"/>
          </p:cNvCxnSpPr>
          <p:nvPr/>
        </p:nvCxnSpPr>
        <p:spPr>
          <a:xfrm flipV="1">
            <a:off x="601109" y="2026117"/>
            <a:ext cx="798541" cy="1345219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/>
          <p:cNvCxnSpPr>
            <a:endCxn id="87080" idx="2"/>
          </p:cNvCxnSpPr>
          <p:nvPr/>
        </p:nvCxnSpPr>
        <p:spPr>
          <a:xfrm flipV="1">
            <a:off x="1742756" y="2388156"/>
            <a:ext cx="18933" cy="299334"/>
          </a:xfrm>
          <a:prstGeom prst="straightConnector1">
            <a:avLst/>
          </a:prstGeom>
          <a:ln w="38100">
            <a:solidFill>
              <a:schemeClr val="bg1">
                <a:lumMod val="65000"/>
              </a:schemeClr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/>
          </p:cNvPicPr>
          <p:nvPr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115616" y="2480847"/>
            <a:ext cx="1254280" cy="1164177"/>
          </a:xfrm>
          <a:prstGeom prst="rect">
            <a:avLst/>
          </a:prstGeom>
          <a:ln>
            <a:noFill/>
          </a:ln>
        </p:spPr>
      </p:pic>
      <p:sp>
        <p:nvSpPr>
          <p:cNvPr id="120" name="Rectangle 39"/>
          <p:cNvSpPr txBox="1">
            <a:spLocks/>
          </p:cNvSpPr>
          <p:nvPr/>
        </p:nvSpPr>
        <p:spPr>
          <a:xfrm>
            <a:off x="1262460" y="3676962"/>
            <a:ext cx="115964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Patients &amp; their </a:t>
            </a:r>
          </a:p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err="1" smtClean="0">
                <a:solidFill>
                  <a:srgbClr val="000000"/>
                </a:solidFill>
                <a:ea typeface="Arial Unicode MS"/>
                <a:cs typeface="Arial Unicode MS"/>
              </a:rPr>
              <a:t>carers</a:t>
            </a: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 / family</a:t>
            </a:r>
            <a:endParaRPr lang="en-GB" sz="1300" b="1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21" name="Rectangle 39"/>
          <p:cNvSpPr txBox="1">
            <a:spLocks/>
          </p:cNvSpPr>
          <p:nvPr/>
        </p:nvSpPr>
        <p:spPr>
          <a:xfrm>
            <a:off x="316012" y="1628800"/>
            <a:ext cx="1159644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Single, </a:t>
            </a:r>
            <a:r>
              <a:rPr lang="en-US" sz="1300" b="1" i="1" dirty="0" err="1" smtClean="0">
                <a:solidFill>
                  <a:srgbClr val="000000"/>
                </a:solidFill>
                <a:ea typeface="Arial Unicode MS"/>
                <a:cs typeface="Arial Unicode MS"/>
              </a:rPr>
              <a:t>personalised</a:t>
            </a:r>
            <a:r>
              <a:rPr lang="en-US" sz="1300" b="1" i="1" dirty="0">
                <a:solidFill>
                  <a:srgbClr val="000000"/>
                </a:solidFill>
                <a:ea typeface="Arial Unicode MS"/>
                <a:cs typeface="Arial Unicode MS"/>
              </a:rPr>
              <a:t> </a:t>
            </a: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and shared care plan</a:t>
            </a:r>
            <a:endParaRPr lang="en-GB" sz="1300" b="1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22" name="Rectangle 39"/>
          <p:cNvSpPr txBox="1">
            <a:spLocks/>
          </p:cNvSpPr>
          <p:nvPr/>
        </p:nvSpPr>
        <p:spPr>
          <a:xfrm>
            <a:off x="4414839" y="1988840"/>
            <a:ext cx="1159644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Named GP</a:t>
            </a:r>
            <a:endParaRPr lang="en-GB" sz="1300" b="1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23" name="Rectangle 39"/>
          <p:cNvSpPr txBox="1">
            <a:spLocks/>
          </p:cNvSpPr>
          <p:nvPr/>
        </p:nvSpPr>
        <p:spPr>
          <a:xfrm>
            <a:off x="4716016" y="2468796"/>
            <a:ext cx="1934879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Integrated health and social care workers, primary care navigators</a:t>
            </a:r>
            <a:endParaRPr lang="en-GB" sz="1300" b="1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24" name="Rectangle 39"/>
          <p:cNvSpPr txBox="1">
            <a:spLocks/>
          </p:cNvSpPr>
          <p:nvPr/>
        </p:nvSpPr>
        <p:spPr>
          <a:xfrm>
            <a:off x="4996531" y="3102354"/>
            <a:ext cx="1431633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Case manager </a:t>
            </a:r>
            <a:r>
              <a:rPr lang="en-US" sz="1300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(could be from health or social care)</a:t>
            </a:r>
            <a:endParaRPr lang="en-GB" sz="1300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25" name="Rectangle 39"/>
          <p:cNvSpPr txBox="1">
            <a:spLocks/>
          </p:cNvSpPr>
          <p:nvPr/>
        </p:nvSpPr>
        <p:spPr>
          <a:xfrm>
            <a:off x="5212556" y="3892986"/>
            <a:ext cx="1159644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CIS case manager</a:t>
            </a:r>
            <a:endParaRPr lang="en-GB" sz="1300" b="1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26" name="Rectangle 39"/>
          <p:cNvSpPr txBox="1">
            <a:spLocks/>
          </p:cNvSpPr>
          <p:nvPr/>
        </p:nvSpPr>
        <p:spPr>
          <a:xfrm>
            <a:off x="8028384" y="1866300"/>
            <a:ext cx="78878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Home</a:t>
            </a:r>
            <a:endParaRPr lang="en-GB" sz="1300" b="1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27" name="Rectangle 39"/>
          <p:cNvSpPr txBox="1">
            <a:spLocks/>
          </p:cNvSpPr>
          <p:nvPr/>
        </p:nvSpPr>
        <p:spPr>
          <a:xfrm>
            <a:off x="8028384" y="2462797"/>
            <a:ext cx="788787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GP practice</a:t>
            </a:r>
            <a:endParaRPr lang="en-GB" sz="1300" b="1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28" name="Rectangle 39"/>
          <p:cNvSpPr txBox="1">
            <a:spLocks/>
          </p:cNvSpPr>
          <p:nvPr/>
        </p:nvSpPr>
        <p:spPr>
          <a:xfrm>
            <a:off x="8028384" y="2955656"/>
            <a:ext cx="78878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Care network</a:t>
            </a:r>
            <a:endParaRPr lang="en-GB" sz="1300" b="1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29" name="Rectangle 39"/>
          <p:cNvSpPr txBox="1">
            <a:spLocks/>
          </p:cNvSpPr>
          <p:nvPr/>
        </p:nvSpPr>
        <p:spPr>
          <a:xfrm>
            <a:off x="8028384" y="3501008"/>
            <a:ext cx="78878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FF0000"/>
                </a:solidFill>
                <a:ea typeface="Arial Unicode MS"/>
                <a:cs typeface="Arial Unicode MS"/>
              </a:rPr>
              <a:t>Health </a:t>
            </a:r>
            <a:r>
              <a:rPr lang="en-US" sz="1300" b="1" i="1" dirty="0" err="1" smtClean="0">
                <a:solidFill>
                  <a:srgbClr val="FF0000"/>
                </a:solidFill>
                <a:ea typeface="Arial Unicode MS"/>
                <a:cs typeface="Arial Unicode MS"/>
              </a:rPr>
              <a:t>centre</a:t>
            </a:r>
            <a:r>
              <a:rPr lang="en-US" sz="1300" b="1" i="1" dirty="0" smtClean="0">
                <a:solidFill>
                  <a:srgbClr val="FF0000"/>
                </a:solidFill>
                <a:ea typeface="Arial Unicode MS"/>
                <a:cs typeface="Arial Unicode MS"/>
              </a:rPr>
              <a:t>/Hub</a:t>
            </a:r>
            <a:endParaRPr lang="en-GB" sz="1300" b="1" i="1" dirty="0">
              <a:solidFill>
                <a:srgbClr val="FF0000"/>
              </a:solidFill>
              <a:ea typeface="Arial Unicode MS"/>
              <a:cs typeface="Arial Unicode MS"/>
            </a:endParaRPr>
          </a:p>
        </p:txBody>
      </p:sp>
      <p:sp>
        <p:nvSpPr>
          <p:cNvPr id="130" name="Rectangle 39"/>
          <p:cNvSpPr txBox="1">
            <a:spLocks/>
          </p:cNvSpPr>
          <p:nvPr/>
        </p:nvSpPr>
        <p:spPr>
          <a:xfrm>
            <a:off x="8028384" y="4071380"/>
            <a:ext cx="78878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Major hospital</a:t>
            </a:r>
            <a:endParaRPr lang="en-GB" sz="1300" b="1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  <p:sp>
        <p:nvSpPr>
          <p:cNvPr id="118" name="Rectangle 118"/>
          <p:cNvSpPr txBox="1"/>
          <p:nvPr/>
        </p:nvSpPr>
        <p:spPr>
          <a:xfrm>
            <a:off x="316012" y="5013176"/>
            <a:ext cx="2322116" cy="936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620" lvl="1" indent="0" defTabSz="91352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defRPr sz="1300" b="1" i="1" baseline="0">
                <a:solidFill>
                  <a:srgbClr val="000000"/>
                </a:solidFill>
                <a:ea typeface="Arial Unicode MS"/>
                <a:cs typeface="Arial Unicode MS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15888" indent="-115888">
              <a:buFont typeface="Wingdings" panose="05000000000000000000" pitchFamily="2" charset="2"/>
              <a:buChar char="§"/>
            </a:pPr>
            <a:r>
              <a:rPr lang="en-GB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s holistic &amp; supports both medical and social wellbeing</a:t>
            </a:r>
          </a:p>
          <a:p>
            <a:pPr marL="115888" indent="-115888">
              <a:buFont typeface="Wingdings" panose="05000000000000000000" pitchFamily="2" charset="2"/>
              <a:buChar char="§"/>
            </a:pPr>
            <a:r>
              <a:rPr lang="en-GB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s proactive, personalised, preventive and empowering  </a:t>
            </a:r>
            <a:endParaRPr lang="en-GB" sz="1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5" name="Rectangle 118"/>
          <p:cNvSpPr txBox="1"/>
          <p:nvPr/>
        </p:nvSpPr>
        <p:spPr>
          <a:xfrm>
            <a:off x="2726179" y="5013176"/>
            <a:ext cx="1651969" cy="936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620" lvl="1" indent="0" defTabSz="91352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defRPr sz="1300" b="1" i="1" baseline="0">
                <a:solidFill>
                  <a:srgbClr val="000000"/>
                </a:solidFill>
                <a:ea typeface="Arial Unicode MS"/>
                <a:cs typeface="Arial Unicode MS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15888" indent="-115888">
              <a:buFont typeface="Wingdings" panose="05000000000000000000" pitchFamily="2" charset="2"/>
              <a:buChar char="§"/>
            </a:pPr>
            <a:r>
              <a:rPr lang="en-GB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s </a:t>
            </a:r>
            <a:r>
              <a:rPr lang="en-GB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impler and easier to access </a:t>
            </a:r>
            <a:r>
              <a:rPr lang="en-GB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across your health and social needs</a:t>
            </a:r>
            <a:endParaRPr lang="en-GB" sz="1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6" name="Rectangle 118"/>
          <p:cNvSpPr txBox="1"/>
          <p:nvPr/>
        </p:nvSpPr>
        <p:spPr>
          <a:xfrm>
            <a:off x="4466199" y="5013176"/>
            <a:ext cx="1961966" cy="936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620" lvl="1" indent="0" defTabSz="91352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defRPr sz="1300" b="1" i="1" baseline="0">
                <a:solidFill>
                  <a:srgbClr val="000000"/>
                </a:solidFill>
                <a:ea typeface="Arial Unicode MS"/>
                <a:cs typeface="Arial Unicode MS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15888" indent="-115888">
              <a:buFont typeface="Wingdings" panose="05000000000000000000" pitchFamily="2" charset="2"/>
              <a:buChar char="§"/>
            </a:pPr>
            <a:r>
              <a:rPr lang="en-GB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A</a:t>
            </a:r>
            <a:r>
              <a:rPr lang="en-GB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lways has clear point of accountability with a core team that reflects your needs</a:t>
            </a:r>
            <a:endParaRPr lang="en-GB" sz="1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37" name="Rectangle 118"/>
          <p:cNvSpPr txBox="1"/>
          <p:nvPr/>
        </p:nvSpPr>
        <p:spPr>
          <a:xfrm>
            <a:off x="6516216" y="5013176"/>
            <a:ext cx="2372789" cy="9361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45720" tIns="45720" rIns="45720" bIns="45720" numCol="1" anchor="t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620" lvl="1" indent="0" defTabSz="91352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  <a:buFont typeface="Arial" charset="0"/>
              <a:buNone/>
              <a:defRPr sz="1300" b="1" i="1" baseline="0">
                <a:solidFill>
                  <a:srgbClr val="000000"/>
                </a:solidFill>
                <a:ea typeface="Arial Unicode MS"/>
                <a:cs typeface="Arial Unicode MS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15888" indent="-115888">
              <a:buFont typeface="Wingdings" panose="05000000000000000000" pitchFamily="2" charset="2"/>
              <a:buChar char="§"/>
            </a:pPr>
            <a:r>
              <a:rPr lang="en-US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s available 24x7 at a location most suitable to your needs</a:t>
            </a:r>
          </a:p>
          <a:p>
            <a:pPr marL="115888" indent="-115888">
              <a:buFont typeface="Wingdings" panose="05000000000000000000" pitchFamily="2" charset="2"/>
              <a:buChar char="§"/>
            </a:pPr>
            <a:r>
              <a:rPr lang="en-GB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s </a:t>
            </a:r>
            <a:r>
              <a:rPr lang="en-GB" sz="1300" b="1" dirty="0">
                <a:solidFill>
                  <a:schemeClr val="tx1">
                    <a:lumMod val="75000"/>
                    <a:lumOff val="25000"/>
                  </a:schemeClr>
                </a:solidFill>
              </a:rPr>
              <a:t>safer, more responsive, and </a:t>
            </a:r>
            <a:r>
              <a:rPr lang="en-GB" sz="1300" b="1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mpassionate </a:t>
            </a:r>
            <a:endParaRPr lang="en-GB" sz="13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cxnSp>
        <p:nvCxnSpPr>
          <p:cNvPr id="133" name="Straight Connector 132"/>
          <p:cNvCxnSpPr>
            <a:stCxn id="13" idx="2"/>
          </p:cNvCxnSpPr>
          <p:nvPr/>
        </p:nvCxnSpPr>
        <p:spPr>
          <a:xfrm>
            <a:off x="1444824" y="4480266"/>
            <a:ext cx="0" cy="532910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0" name="Straight Connector 139"/>
          <p:cNvCxnSpPr>
            <a:stCxn id="87076" idx="2"/>
          </p:cNvCxnSpPr>
          <p:nvPr/>
        </p:nvCxnSpPr>
        <p:spPr>
          <a:xfrm flipH="1">
            <a:off x="3196718" y="3430105"/>
            <a:ext cx="1" cy="1583071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2" name="Straight Connector 141"/>
          <p:cNvCxnSpPr/>
          <p:nvPr/>
        </p:nvCxnSpPr>
        <p:spPr>
          <a:xfrm>
            <a:off x="5265167" y="4595429"/>
            <a:ext cx="0" cy="417747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Straight Connector 143"/>
          <p:cNvCxnSpPr/>
          <p:nvPr/>
        </p:nvCxnSpPr>
        <p:spPr>
          <a:xfrm>
            <a:off x="8091702" y="4595429"/>
            <a:ext cx="0" cy="417747"/>
          </a:xfrm>
          <a:prstGeom prst="line">
            <a:avLst/>
          </a:prstGeom>
          <a:ln>
            <a:solidFill>
              <a:schemeClr val="accent1">
                <a:lumMod val="40000"/>
                <a:lumOff val="60000"/>
              </a:schemeClr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3" name="Down Arrow 142"/>
          <p:cNvSpPr/>
          <p:nvPr/>
        </p:nvSpPr>
        <p:spPr>
          <a:xfrm>
            <a:off x="6372201" y="1772816"/>
            <a:ext cx="504056" cy="2592287"/>
          </a:xfrm>
          <a:prstGeom prst="downArrow">
            <a:avLst/>
          </a:prstGeom>
          <a:gradFill>
            <a:gsLst>
              <a:gs pos="0">
                <a:schemeClr val="accent6">
                  <a:lumMod val="75000"/>
                </a:schemeClr>
              </a:gs>
              <a:gs pos="100000">
                <a:schemeClr val="accent6">
                  <a:lumMod val="20000"/>
                  <a:lumOff val="80000"/>
                </a:schemeClr>
              </a:gs>
            </a:gsLst>
            <a:lin ang="16200000" scaled="1"/>
          </a:gra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8" name="Rectangle 39"/>
          <p:cNvSpPr txBox="1">
            <a:spLocks/>
          </p:cNvSpPr>
          <p:nvPr/>
        </p:nvSpPr>
        <p:spPr>
          <a:xfrm rot="5400000">
            <a:off x="6080856" y="2893167"/>
            <a:ext cx="1159644" cy="2000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chemeClr val="tx1">
                    <a:lumMod val="50000"/>
                    <a:lumOff val="50000"/>
                  </a:schemeClr>
                </a:solidFill>
                <a:ea typeface="Arial Unicode MS"/>
                <a:cs typeface="Arial Unicode MS"/>
              </a:rPr>
              <a:t>Increasing needs</a:t>
            </a:r>
            <a:endParaRPr lang="en-GB" sz="1300" b="1" i="1" dirty="0">
              <a:solidFill>
                <a:schemeClr val="tx1">
                  <a:lumMod val="50000"/>
                  <a:lumOff val="50000"/>
                </a:schemeClr>
              </a:solidFill>
              <a:ea typeface="Arial Unicode MS"/>
              <a:cs typeface="Arial Unicode MS"/>
            </a:endParaRPr>
          </a:p>
        </p:txBody>
      </p:sp>
      <p:sp>
        <p:nvSpPr>
          <p:cNvPr id="149" name="Rectangle 39"/>
          <p:cNvSpPr txBox="1">
            <a:spLocks/>
          </p:cNvSpPr>
          <p:nvPr/>
        </p:nvSpPr>
        <p:spPr>
          <a:xfrm>
            <a:off x="2726179" y="3492877"/>
            <a:ext cx="946964" cy="8002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lvl="0" indent="0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600" baseline="0">
                <a:ea typeface="Arial Unicode MS" pitchFamily="34" charset="-128"/>
                <a:cs typeface="Arial Unicode MS" pitchFamily="34" charset="-128"/>
              </a:defRPr>
            </a:lvl1pPr>
            <a:lvl2pPr marL="197607" lvl="1" indent="-195987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ea typeface="Arial Unicode MS" pitchFamily="34" charset="-128"/>
                <a:cs typeface="Arial Unicode MS" pitchFamily="34" charset="-128"/>
              </a:defRPr>
            </a:lvl2pPr>
            <a:lvl3pPr marL="466481" lvl="2" indent="-267255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ea typeface="Arial Unicode MS" pitchFamily="34" charset="-128"/>
                <a:cs typeface="Arial Unicode MS" pitchFamily="34" charset="-128"/>
              </a:defRPr>
            </a:lvl3pPr>
            <a:lvl4pPr marL="626835" lvl="3" indent="-158733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ea typeface="Arial Unicode MS" pitchFamily="34" charset="-128"/>
                <a:cs typeface="Arial Unicode MS" pitchFamily="34" charset="-128"/>
              </a:defRPr>
            </a:lvl4pPr>
            <a:lvl5pPr marL="765029" lvl="4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ea typeface="Arial Unicode MS" pitchFamily="34" charset="-128"/>
                <a:cs typeface="Arial Unicode MS" pitchFamily="34" charset="-128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/>
            </a:lvl9pPr>
          </a:lstStyle>
          <a:p>
            <a:pPr marL="1620" lvl="1" indent="0">
              <a:buClr>
                <a:srgbClr val="002960"/>
              </a:buClr>
              <a:buNone/>
            </a:pPr>
            <a:r>
              <a:rPr lang="en-US" sz="1300" b="1" i="1" dirty="0" smtClean="0">
                <a:solidFill>
                  <a:srgbClr val="000000"/>
                </a:solidFill>
                <a:ea typeface="Arial Unicode MS"/>
                <a:cs typeface="Arial Unicode MS"/>
              </a:rPr>
              <a:t>Single SPA for joint health &amp; social needs</a:t>
            </a:r>
            <a:endParaRPr lang="en-GB" sz="1300" b="1" i="1" dirty="0">
              <a:solidFill>
                <a:srgbClr val="000000"/>
              </a:solidFill>
              <a:ea typeface="Arial Unicode MS"/>
              <a:cs typeface="Arial Unicode MS"/>
            </a:endParaRPr>
          </a:p>
        </p:txBody>
      </p:sp>
    </p:spTree>
    <p:extLst>
      <p:ext uri="{BB962C8B-B14F-4D97-AF65-F5344CB8AC3E}">
        <p14:creationId xmlns:p14="http://schemas.microsoft.com/office/powerpoint/2010/main" val="39508853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512" y="116632"/>
            <a:ext cx="8640960" cy="1143000"/>
          </a:xfrm>
        </p:spPr>
        <p:txBody>
          <a:bodyPr>
            <a:noAutofit/>
          </a:bodyPr>
          <a:lstStyle/>
          <a:p>
            <a:pPr algn="l"/>
            <a:r>
              <a:rPr lang="en-GB" sz="32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tient feedback so far …</a:t>
            </a:r>
            <a:endParaRPr lang="en-GB" sz="3200" b="1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13184" y="1124744"/>
            <a:ext cx="5122912" cy="4525963"/>
          </a:xfrm>
        </p:spPr>
        <p:txBody>
          <a:bodyPr>
            <a:noAutofit/>
          </a:bodyPr>
          <a:lstStyle/>
          <a:p>
            <a:r>
              <a:rPr lang="en-GB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The </a:t>
            </a:r>
            <a:r>
              <a:rPr lang="en-GB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munity hubs </a:t>
            </a:r>
            <a:r>
              <a:rPr lang="en-GB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are </a:t>
            </a:r>
            <a:r>
              <a:rPr lang="en-GB" sz="16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urrently being </a:t>
            </a:r>
            <a:r>
              <a:rPr lang="en-GB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esigned</a:t>
            </a:r>
          </a:p>
          <a:p>
            <a:r>
              <a:rPr lang="en-GB" sz="1600" b="1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Patients suggest…</a:t>
            </a:r>
            <a:endParaRPr lang="en-GB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GB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ingle hub good idea and should feel like a village</a:t>
            </a:r>
          </a:p>
          <a:p>
            <a:r>
              <a:rPr lang="en-GB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North and South need a hub</a:t>
            </a:r>
          </a:p>
          <a:p>
            <a:r>
              <a:rPr lang="en-GB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hould provide </a:t>
            </a: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for social and wellbeing needs not just medical needs </a:t>
            </a:r>
            <a:endParaRPr lang="en-GB" sz="1600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GB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ood </a:t>
            </a: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ransport links/parking (or provide transport), be near, be able to offer multiple appointments on the same day at same </a:t>
            </a:r>
            <a:r>
              <a:rPr lang="en-GB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location</a:t>
            </a:r>
            <a:endParaRPr lang="en-GB" sz="1600" b="1" dirty="0" smtClean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GB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Could include , </a:t>
            </a:r>
            <a:r>
              <a:rPr lang="en-GB" sz="16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community health, voluntary services and other therapists but also wellbeing and social activities/services </a:t>
            </a:r>
          </a:p>
          <a:p>
            <a:r>
              <a:rPr lang="en-GB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ervices should include reactive and proactive:</a:t>
            </a:r>
          </a:p>
          <a:p>
            <a:pPr lvl="1"/>
            <a:r>
              <a:rPr lang="en-GB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Ps</a:t>
            </a:r>
          </a:p>
          <a:p>
            <a:pPr lvl="1"/>
            <a:r>
              <a:rPr lang="en-GB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Health checks</a:t>
            </a:r>
          </a:p>
          <a:p>
            <a:pPr lvl="1"/>
            <a:r>
              <a:rPr lang="en-GB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Diagnostics</a:t>
            </a:r>
          </a:p>
          <a:p>
            <a:pPr lvl="1"/>
            <a:r>
              <a:rPr lang="en-GB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tep-up and step down </a:t>
            </a:r>
          </a:p>
          <a:p>
            <a:pPr lvl="1"/>
            <a:r>
              <a:rPr lang="en-GB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D</a:t>
            </a:r>
            <a:r>
              <a:rPr lang="en-GB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rop ins</a:t>
            </a:r>
          </a:p>
          <a:p>
            <a:pPr lvl="1"/>
            <a:r>
              <a:rPr lang="en-GB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Specialist services – including specialist older persons nurses</a:t>
            </a:r>
          </a:p>
          <a:p>
            <a:pPr lvl="1"/>
            <a:r>
              <a:rPr lang="en-GB" sz="14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Voluntary sector</a:t>
            </a:r>
          </a:p>
          <a:p>
            <a:pPr lvl="1"/>
            <a:endParaRPr lang="en-GB" sz="14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7FB5E3-6C5D-4837-BFD8-F25BE6938A83}" type="slidenum">
              <a:rPr lang="en-GB" smtClean="0"/>
              <a:t>6</a:t>
            </a:fld>
            <a:endParaRPr lang="en-GB"/>
          </a:p>
        </p:txBody>
      </p:sp>
      <p:graphicFrame>
        <p:nvGraphicFramePr>
          <p:cNvPr id="5" name="Tab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0231897"/>
              </p:ext>
            </p:extLst>
          </p:nvPr>
        </p:nvGraphicFramePr>
        <p:xfrm>
          <a:off x="5580112" y="1844824"/>
          <a:ext cx="3240360" cy="434052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240360"/>
              </a:tblGrid>
              <a:tr h="23566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 dirty="0">
                          <a:effectLst/>
                        </a:rPr>
                        <a:t>Blood </a:t>
                      </a:r>
                      <a:r>
                        <a:rPr lang="en-GB" sz="1400" u="none" strike="noStrike" dirty="0" smtClean="0">
                          <a:effectLst/>
                        </a:rPr>
                        <a:t>tests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23566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Dentist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633932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Diabetes – (one group suggested these are perhaps in separate hubs of excellence - Blood tests, dieticians, vascular, psychotherapy, exercise)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23566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Eye test/opticians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23566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Exercise 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23566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 dirty="0">
                          <a:effectLst/>
                        </a:rPr>
                        <a:t>Hearing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23566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 dirty="0">
                          <a:effectLst/>
                        </a:rPr>
                        <a:t>Hydrotherapy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23566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Massage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2356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>
                          <a:effectLst/>
                        </a:rPr>
                        <a:t>Mental health advice/psychological services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2356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>
                          <a:effectLst/>
                        </a:rPr>
                        <a:t>Pharmacist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  <a:tr h="23566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Physio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235663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>
                          <a:effectLst/>
                        </a:rPr>
                        <a:t>Podiatry</a:t>
                      </a:r>
                      <a:endParaRPr lang="en-GB" sz="1400" b="1" i="0" u="none" strike="noStrike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426549">
                <a:tc>
                  <a:txBody>
                    <a:bodyPr/>
                    <a:lstStyle/>
                    <a:p>
                      <a:pPr algn="l" fontAlgn="t"/>
                      <a:r>
                        <a:rPr lang="en-GB" sz="1400" u="none" strike="noStrike" dirty="0">
                          <a:effectLst/>
                        </a:rPr>
                        <a:t>Social Activity – Tea dances, crochet, lunches, gardening, music, day trips, </a:t>
                      </a:r>
                      <a:r>
                        <a:rPr lang="en-GB" sz="1400" u="none" strike="noStrike" dirty="0" smtClean="0">
                          <a:effectLst/>
                        </a:rPr>
                        <a:t>bridge, CAB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/>
                </a:tc>
              </a:tr>
              <a:tr h="235663">
                <a:tc>
                  <a:txBody>
                    <a:bodyPr/>
                    <a:lstStyle/>
                    <a:p>
                      <a:pPr algn="l" fontAlgn="ctr"/>
                      <a:r>
                        <a:rPr lang="en-GB" sz="1400" u="none" strike="noStrike" dirty="0">
                          <a:effectLst/>
                        </a:rPr>
                        <a:t>X-ray</a:t>
                      </a:r>
                      <a:endParaRPr lang="en-GB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580112" y="1412776"/>
            <a:ext cx="30243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dirty="0" smtClean="0"/>
              <a:t>Other services could include:</a:t>
            </a:r>
            <a:endParaRPr lang="en-GB" b="1" dirty="0"/>
          </a:p>
        </p:txBody>
      </p:sp>
      <p:pic>
        <p:nvPicPr>
          <p:cNvPr id="7" name="Picture 6" descr="West London CCG col.jpg"/>
          <p:cNvPicPr/>
          <p:nvPr/>
        </p:nvPicPr>
        <p:blipFill>
          <a:blip r:embed="rId2"/>
          <a:stretch>
            <a:fillRect/>
          </a:stretch>
        </p:blipFill>
        <p:spPr>
          <a:xfrm>
            <a:off x="6084168" y="260648"/>
            <a:ext cx="2655642" cy="695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486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25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3&quot;&gt;&lt;elem m_fUsage=&quot;2.43900000000000010000E+000&quot;&gt;&lt;m_msothmcolidx val=&quot;0&quot;/&gt;&lt;m_rgb r=&quot;d6&quot; g=&quot;eb&quot; b=&quot;ed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e0&quot; g=&quot;ce&quot; b=&quot;e8&quot;/&gt;&lt;m_ppcolschidx tagver0=&quot;23004&quot; tagname0=&quot;m_ppcolschidxUNRECOGNIZED&quot; val=&quot;0&quot;/&gt;&lt;m_nBrightness val=&quot;0&quot;/&gt;&lt;/elem&gt;&lt;elem m_fUsage=&quot;6.56100000000000130000E-001&quot;&gt;&lt;m_msothmcolidx val=&quot;0&quot;/&gt;&lt;m_rgb r=&quot;db&quot; g=&quot;db&quot; b=&quot;db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ISNEWSLIDENUMBER" val="False"/>
  <p:tag name="PREVIOUSNAME" val="C:\McKProjects\00_WSIC\01_Working_Area\00_NK\20141012\WLCCG WS MoCWG Discussion 20141021-v3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wnm6cEWk.h6tRLSRbA1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HjMTyRzTUCfOvMsS9Rn5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mH_X9V4USKjqk8Ngk4W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aXHRCB7EKb2B1FcsIQ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WSIC PPT template">
  <a:themeElements>
    <a:clrScheme name="Current">
      <a:dk1>
        <a:srgbClr val="000000"/>
      </a:dk1>
      <a:lt1>
        <a:srgbClr val="FFFFFF"/>
      </a:lt1>
      <a:dk2>
        <a:srgbClr val="000000"/>
      </a:dk2>
      <a:lt2>
        <a:srgbClr val="BDB4C9"/>
      </a:lt2>
      <a:accent1>
        <a:srgbClr val="CEE0F2"/>
      </a:accent1>
      <a:accent2>
        <a:srgbClr val="7AABDB"/>
      </a:accent2>
      <a:accent3>
        <a:srgbClr val="635475"/>
      </a:accent3>
      <a:accent4>
        <a:srgbClr val="230E3C"/>
      </a:accent4>
      <a:accent5>
        <a:srgbClr val="FC6C09"/>
      </a:accent5>
      <a:accent6>
        <a:srgbClr val="808080"/>
      </a:accent6>
      <a:hlink>
        <a:srgbClr val="635475"/>
      </a:hlink>
      <a:folHlink>
        <a:srgbClr val="230E3C"/>
      </a:folHlink>
    </a:clrScheme>
    <a:fontScheme name="Custom 53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0000"/>
        </a:dk2>
        <a:lt2>
          <a:srgbClr val="BDB4C9"/>
        </a:lt2>
        <a:accent1>
          <a:srgbClr val="CEE0F2"/>
        </a:accent1>
        <a:accent2>
          <a:srgbClr val="7AABDB"/>
        </a:accent2>
        <a:accent3>
          <a:srgbClr val="635475"/>
        </a:accent3>
        <a:accent4>
          <a:srgbClr val="230E3C"/>
        </a:accent4>
        <a:accent5>
          <a:srgbClr val="FC6C09"/>
        </a:accent5>
        <a:accent6>
          <a:srgbClr val="808080"/>
        </a:accent6>
        <a:hlink>
          <a:srgbClr val="635475"/>
        </a:hlink>
        <a:folHlink>
          <a:srgbClr val="230E3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lank">
  <a:themeElements>
    <a:clrScheme name="Firm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455</TotalTime>
  <Words>801</Words>
  <Application>Microsoft Office PowerPoint</Application>
  <PresentationFormat>On-screen Show (4:3)</PresentationFormat>
  <Paragraphs>102</Paragraphs>
  <Slides>6</Slides>
  <Notes>3</Notes>
  <HiddenSlides>0</HiddenSlides>
  <MMClips>0</MMClips>
  <ScaleCrop>false</ScaleCrop>
  <HeadingPairs>
    <vt:vector size="6" baseType="variant"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2" baseType="lpstr">
      <vt:lpstr>Office Theme</vt:lpstr>
      <vt:lpstr>Blank</vt:lpstr>
      <vt:lpstr>WSIC PPT template</vt:lpstr>
      <vt:lpstr>1_Blank</vt:lpstr>
      <vt:lpstr>1_Office Theme</vt:lpstr>
      <vt:lpstr>think-cell Slide</vt:lpstr>
      <vt:lpstr>Whole Systems Integrated Care Earls Court &amp; Chelsea Forum 23rd October 2014</vt:lpstr>
      <vt:lpstr>Whole Systems</vt:lpstr>
      <vt:lpstr>The West London Whole Systems vision is based on a number of core agreed principles</vt:lpstr>
      <vt:lpstr>We are committed to co-design  and have already listened</vt:lpstr>
      <vt:lpstr>The proposed model of care (so far)…</vt:lpstr>
      <vt:lpstr>Patient feedback so far …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 Pyecroft</dc:creator>
  <cp:lastModifiedBy>KCSC Admin</cp:lastModifiedBy>
  <cp:revision>1224</cp:revision>
  <cp:lastPrinted>2014-10-15T12:52:38Z</cp:lastPrinted>
  <dcterms:created xsi:type="dcterms:W3CDTF">2014-07-31T13:12:48Z</dcterms:created>
  <dcterms:modified xsi:type="dcterms:W3CDTF">2014-10-23T13:06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Office2010EditCount">
    <vt:lpwstr>1</vt:lpwstr>
  </property>
  <property fmtid="{D5CDD505-2E9C-101B-9397-08002B2CF9AE}" pid="3" name="Office2003EditCount">
    <vt:lpwstr>0</vt:lpwstr>
  </property>
  <property fmtid="{D5CDD505-2E9C-101B-9397-08002B2CF9AE}" pid="4" name="LastEditedOfficeVersion">
    <vt:lpwstr>Office2010</vt:lpwstr>
  </property>
  <property fmtid="{D5CDD505-2E9C-101B-9397-08002B2CF9AE}" pid="5" name="Office2010WasSaved">
    <vt:lpwstr>1</vt:lpwstr>
  </property>
</Properties>
</file>